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heme/themeOverride1.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Lst>
  <p:notesMasterIdLst>
    <p:notesMasterId r:id="rId45"/>
  </p:notesMasterIdLst>
  <p:handoutMasterIdLst>
    <p:handoutMasterId r:id="rId46"/>
  </p:handoutMasterIdLst>
  <p:sldIdLst>
    <p:sldId id="3139" r:id="rId5"/>
    <p:sldId id="3087" r:id="rId6"/>
    <p:sldId id="1735" r:id="rId7"/>
    <p:sldId id="3092" r:id="rId8"/>
    <p:sldId id="3093" r:id="rId9"/>
    <p:sldId id="10289" r:id="rId10"/>
    <p:sldId id="2076138109" r:id="rId11"/>
    <p:sldId id="1786" r:id="rId12"/>
    <p:sldId id="10335" r:id="rId13"/>
    <p:sldId id="10336" r:id="rId14"/>
    <p:sldId id="10337" r:id="rId15"/>
    <p:sldId id="10338" r:id="rId16"/>
    <p:sldId id="10339" r:id="rId17"/>
    <p:sldId id="10248" r:id="rId18"/>
    <p:sldId id="2076138102" r:id="rId19"/>
    <p:sldId id="2076138105" r:id="rId20"/>
    <p:sldId id="2076138103" r:id="rId21"/>
    <p:sldId id="2076138127" r:id="rId22"/>
    <p:sldId id="2076138111" r:id="rId23"/>
    <p:sldId id="2076138112" r:id="rId24"/>
    <p:sldId id="2076138113" r:id="rId25"/>
    <p:sldId id="2076138114" r:id="rId26"/>
    <p:sldId id="2076138115" r:id="rId27"/>
    <p:sldId id="10340" r:id="rId28"/>
    <p:sldId id="2076138116" r:id="rId29"/>
    <p:sldId id="2076138107" r:id="rId30"/>
    <p:sldId id="2076138108" r:id="rId31"/>
    <p:sldId id="2076138100" r:id="rId32"/>
    <p:sldId id="2076138119" r:id="rId33"/>
    <p:sldId id="2076138123" r:id="rId34"/>
    <p:sldId id="2076138125" r:id="rId35"/>
    <p:sldId id="2076138126" r:id="rId36"/>
    <p:sldId id="10331" r:id="rId37"/>
    <p:sldId id="10292" r:id="rId38"/>
    <p:sldId id="10293" r:id="rId39"/>
    <p:sldId id="1796" r:id="rId40"/>
    <p:sldId id="1798" r:id="rId41"/>
    <p:sldId id="2076138124" r:id="rId42"/>
    <p:sldId id="10288" r:id="rId43"/>
    <p:sldId id="3129" r:id="rId44"/>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8B656EC-D568-4EF7-8842-9FA1AE1192C9}">
          <p14:sldIdLst>
            <p14:sldId id="3139"/>
            <p14:sldId id="3087"/>
            <p14:sldId id="1735"/>
            <p14:sldId id="3092"/>
            <p14:sldId id="3093"/>
          </p14:sldIdLst>
        </p14:section>
        <p14:section name="Overview &amp; Workstream" id="{A24AFDE4-8172-4C8B-9C77-4E8D0EE2E401}">
          <p14:sldIdLst>
            <p14:sldId id="10289"/>
            <p14:sldId id="2076138109"/>
            <p14:sldId id="1786"/>
          </p14:sldIdLst>
        </p14:section>
        <p14:section name="Regulation, compliance and other requirements" id="{62448FA5-6C3B-4733-B7F1-52A540D8ED90}">
          <p14:sldIdLst>
            <p14:sldId id="10335"/>
            <p14:sldId id="10336"/>
            <p14:sldId id="10337"/>
            <p14:sldId id="10338"/>
          </p14:sldIdLst>
        </p14:section>
        <p14:section name="Implementation (within Dynamics 365)" id="{9B1992DA-E04C-42FD-8581-27D14461433D}">
          <p14:sldIdLst>
            <p14:sldId id="10339"/>
            <p14:sldId id="10248"/>
            <p14:sldId id="2076138102"/>
            <p14:sldId id="2076138105"/>
            <p14:sldId id="2076138103"/>
            <p14:sldId id="2076138127"/>
            <p14:sldId id="2076138111"/>
            <p14:sldId id="2076138112"/>
            <p14:sldId id="2076138113"/>
            <p14:sldId id="2076138114"/>
            <p14:sldId id="2076138115"/>
          </p14:sldIdLst>
        </p14:section>
        <p14:section name="Implementation (beyond Dynamics 365)" id="{A000C406-3650-4BE9-A4A1-01F49260045E}">
          <p14:sldIdLst>
            <p14:sldId id="10340"/>
            <p14:sldId id="2076138116"/>
            <p14:sldId id="2076138107"/>
            <p14:sldId id="2076138108"/>
          </p14:sldIdLst>
        </p14:section>
        <p14:section name="Testing" id="{3047E436-04D4-40FE-BFB1-F9CD424EAC34}">
          <p14:sldIdLst>
            <p14:sldId id="2076138100"/>
            <p14:sldId id="2076138119"/>
          </p14:sldIdLst>
        </p14:section>
        <p14:section name="Management, monitoring, and auditing" id="{981E8481-1992-4BD4-8560-BF333FD7A9E8}">
          <p14:sldIdLst>
            <p14:sldId id="2076138123"/>
            <p14:sldId id="2076138125"/>
            <p14:sldId id="2076138126"/>
          </p14:sldIdLst>
        </p14:section>
        <p14:section name="Wrap-up" id="{11EA5DAF-BDF7-4582-BCC4-996162983638}">
          <p14:sldIdLst>
            <p14:sldId id="10331"/>
            <p14:sldId id="10292"/>
            <p14:sldId id="10293"/>
            <p14:sldId id="1796"/>
            <p14:sldId id="1798"/>
          </p14:sldIdLst>
        </p14:section>
        <p14:section name="Resources" id="{2CC95448-83FE-4D37-9C64-FAA38E1A055F}">
          <p14:sldIdLst>
            <p14:sldId id="2076138124"/>
            <p14:sldId id="10288"/>
            <p14:sldId id="3129"/>
          </p14:sldIdLst>
        </p14:section>
      </p14:sectionLst>
    </p:ext>
    <p:ext uri="{EFAFB233-063F-42B5-8137-9DF3F51BA10A}">
      <p15:sldGuideLst xmlns:p15="http://schemas.microsoft.com/office/powerpoint/2012/main">
        <p15:guide id="2" orient="horz" pos="2160">
          <p15:clr>
            <a:srgbClr val="A4A3A4"/>
          </p15:clr>
        </p15:guide>
        <p15:guide id="3"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42E013-79A1-E06F-BD06-F77B79128252}" name="Veselina Eneva" initials="VE" userId="S::veneva@microsoft.com::8f9a69b8-91b1-4903-801a-6cdb628defa7" providerId="AD"/>
  <p188:author id="{3BA6344F-6803-4A82-F855-3E239AFE18E4}" name="Severin Bock" initials="SB" userId="Severin Bock" providerId="None"/>
  <p188:author id="{B60D79B8-0641-D909-5731-867F9BC48679}" name="Adeel Edhi" initials="AE" userId="S::adeeledhi@microsoft.com::64e7d15d-d317-4178-b345-a91fc5cfabd3" providerId="AD"/>
  <p188:author id="{343F0AC0-6250-4799-C610-A4C895B70171}" name="Henry Jammes" initials="HJ" userId="S::hejammes@microsoft.com::5f22554b-fd15-4676-8c82-dc6122af2a80" providerId="AD"/>
  <p188:author id="{BB7FB2C4-F4BA-51CD-E7FF-6123717ABF13}" name="Rachel Profitt" initials="RP" userId="S::raprofit@microsoft.com::33e63d03-b0ce-4cee-8a7f-3417702ed3c2" providerId="AD"/>
  <p188:author id="{FAEDAAC8-0530-2237-4664-9A046A131C40}" name="Rich Black" initials="RB" userId="S::riblack@microsoft.com::b49cc34d-059b-4351-ba76-9f03c1133ec4" providerId="AD"/>
  <p188:author id="{A1A855D9-3655-3611-D721-1D05ACFA3F07}" name="Eric Pegors" initials="EP" userId="S::epegors@microsoft.com::180bc75c-1203-4cdc-9809-50698c11629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1919"/>
    <a:srgbClr val="4CCBED"/>
    <a:srgbClr val="50E6FF"/>
    <a:srgbClr val="0B556A"/>
    <a:srgbClr val="1392B4"/>
    <a:srgbClr val="30E5D0"/>
    <a:srgbClr val="008575"/>
    <a:srgbClr val="107C10"/>
    <a:srgbClr val="000000"/>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1130759-4771-4FF1-B53C-561D40CDC7D5}" v="66" dt="2021-10-13T09:59:56.9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3" Type="http://schemas.microsoft.com/office/2015/10/relationships/revisionInfo" Target="revisionInfo.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nry Jammes" userId="5f22554b-fd15-4676-8c82-dc6122af2a80" providerId="ADAL" clId="{5F8C4338-B86B-4715-AA40-2105D5C00436}"/>
    <pc:docChg chg="undo custSel delSld modSld delSection modSection">
      <pc:chgData name="Henry Jammes" userId="5f22554b-fd15-4676-8c82-dc6122af2a80" providerId="ADAL" clId="{5F8C4338-B86B-4715-AA40-2105D5C00436}" dt="2021-06-22T17:26:28.285" v="258" actId="478"/>
      <pc:docMkLst>
        <pc:docMk/>
      </pc:docMkLst>
      <pc:sldChg chg="delSp mod">
        <pc:chgData name="Henry Jammes" userId="5f22554b-fd15-4676-8c82-dc6122af2a80" providerId="ADAL" clId="{5F8C4338-B86B-4715-AA40-2105D5C00436}" dt="2021-06-22T17:26:28.285" v="258" actId="478"/>
        <pc:sldMkLst>
          <pc:docMk/>
          <pc:sldMk cId="3188214157" sldId="3139"/>
        </pc:sldMkLst>
        <pc:spChg chg="del">
          <ac:chgData name="Henry Jammes" userId="5f22554b-fd15-4676-8c82-dc6122af2a80" providerId="ADAL" clId="{5F8C4338-B86B-4715-AA40-2105D5C00436}" dt="2021-06-22T17:26:28.285" v="258" actId="478"/>
          <ac:spMkLst>
            <pc:docMk/>
            <pc:sldMk cId="3188214157" sldId="3139"/>
            <ac:spMk id="4" creationId="{9C688989-C678-4EEB-A04D-D19F3B124FD8}"/>
          </ac:spMkLst>
        </pc:spChg>
      </pc:sldChg>
      <pc:sldChg chg="del">
        <pc:chgData name="Henry Jammes" userId="5f22554b-fd15-4676-8c82-dc6122af2a80" providerId="ADAL" clId="{5F8C4338-B86B-4715-AA40-2105D5C00436}" dt="2021-06-22T17:20:09.035" v="257" actId="18676"/>
        <pc:sldMkLst>
          <pc:docMk/>
          <pc:sldMk cId="3462215717" sldId="10334"/>
        </pc:sldMkLst>
      </pc:sldChg>
      <pc:sldChg chg="modNotesTx">
        <pc:chgData name="Henry Jammes" userId="5f22554b-fd15-4676-8c82-dc6122af2a80" providerId="ADAL" clId="{5F8C4338-B86B-4715-AA40-2105D5C00436}" dt="2021-06-21T13:17:03.887" v="34" actId="20577"/>
        <pc:sldMkLst>
          <pc:docMk/>
          <pc:sldMk cId="1741817657" sldId="2076138108"/>
        </pc:sldMkLst>
      </pc:sldChg>
      <pc:sldChg chg="addSp delSp modSp mod">
        <pc:chgData name="Henry Jammes" userId="5f22554b-fd15-4676-8c82-dc6122af2a80" providerId="ADAL" clId="{5F8C4338-B86B-4715-AA40-2105D5C00436}" dt="2021-06-21T13:37:29.225" v="256" actId="21"/>
        <pc:sldMkLst>
          <pc:docMk/>
          <pc:sldMk cId="2064129829" sldId="2076138110"/>
        </pc:sldMkLst>
        <pc:spChg chg="mod">
          <ac:chgData name="Henry Jammes" userId="5f22554b-fd15-4676-8c82-dc6122af2a80" providerId="ADAL" clId="{5F8C4338-B86B-4715-AA40-2105D5C00436}" dt="2021-06-21T13:32:24.272" v="35" actId="14100"/>
          <ac:spMkLst>
            <pc:docMk/>
            <pc:sldMk cId="2064129829" sldId="2076138110"/>
            <ac:spMk id="22" creationId="{BF53A79F-5D46-4CAA-AE0E-F3A81FB91CFE}"/>
          </ac:spMkLst>
        </pc:spChg>
        <pc:spChg chg="mod">
          <ac:chgData name="Henry Jammes" userId="5f22554b-fd15-4676-8c82-dc6122af2a80" providerId="ADAL" clId="{5F8C4338-B86B-4715-AA40-2105D5C00436}" dt="2021-06-21T13:32:44.811" v="42" actId="14100"/>
          <ac:spMkLst>
            <pc:docMk/>
            <pc:sldMk cId="2064129829" sldId="2076138110"/>
            <ac:spMk id="28" creationId="{DCC1AF7F-DA09-431D-81B7-38BFD7F263CE}"/>
          </ac:spMkLst>
        </pc:spChg>
        <pc:spChg chg="mod">
          <ac:chgData name="Henry Jammes" userId="5f22554b-fd15-4676-8c82-dc6122af2a80" providerId="ADAL" clId="{5F8C4338-B86B-4715-AA40-2105D5C00436}" dt="2021-06-21T13:33:00.739" v="48" actId="1076"/>
          <ac:spMkLst>
            <pc:docMk/>
            <pc:sldMk cId="2064129829" sldId="2076138110"/>
            <ac:spMk id="32" creationId="{E06E5741-A7BE-432F-9C81-EB16FA620F50}"/>
          </ac:spMkLst>
        </pc:spChg>
        <pc:spChg chg="mod">
          <ac:chgData name="Henry Jammes" userId="5f22554b-fd15-4676-8c82-dc6122af2a80" providerId="ADAL" clId="{5F8C4338-B86B-4715-AA40-2105D5C00436}" dt="2021-06-21T13:32:49.652" v="44" actId="14100"/>
          <ac:spMkLst>
            <pc:docMk/>
            <pc:sldMk cId="2064129829" sldId="2076138110"/>
            <ac:spMk id="35" creationId="{4D3C56F5-95A1-4603-AB28-CD10AF830B87}"/>
          </ac:spMkLst>
        </pc:spChg>
        <pc:spChg chg="add mod">
          <ac:chgData name="Henry Jammes" userId="5f22554b-fd15-4676-8c82-dc6122af2a80" providerId="ADAL" clId="{5F8C4338-B86B-4715-AA40-2105D5C00436}" dt="2021-06-21T13:37:29.225" v="256" actId="21"/>
          <ac:spMkLst>
            <pc:docMk/>
            <pc:sldMk cId="2064129829" sldId="2076138110"/>
            <ac:spMk id="39" creationId="{C6F42727-2AE4-4EDF-B61F-B474FED5A18E}"/>
          </ac:spMkLst>
        </pc:spChg>
        <pc:spChg chg="mod">
          <ac:chgData name="Henry Jammes" userId="5f22554b-fd15-4676-8c82-dc6122af2a80" providerId="ADAL" clId="{5F8C4338-B86B-4715-AA40-2105D5C00436}" dt="2021-06-21T13:32:51.513" v="45" actId="14100"/>
          <ac:spMkLst>
            <pc:docMk/>
            <pc:sldMk cId="2064129829" sldId="2076138110"/>
            <ac:spMk id="40" creationId="{2FCD1F09-8989-41D1-80A4-1942ACFC4F39}"/>
          </ac:spMkLst>
        </pc:spChg>
        <pc:spChg chg="add mod">
          <ac:chgData name="Henry Jammes" userId="5f22554b-fd15-4676-8c82-dc6122af2a80" providerId="ADAL" clId="{5F8C4338-B86B-4715-AA40-2105D5C00436}" dt="2021-06-21T13:33:52.830" v="63" actId="1036"/>
          <ac:spMkLst>
            <pc:docMk/>
            <pc:sldMk cId="2064129829" sldId="2076138110"/>
            <ac:spMk id="41" creationId="{01525AC4-6850-4B0A-B363-72E11363CDE6}"/>
          </ac:spMkLst>
        </pc:spChg>
        <pc:spChg chg="mod">
          <ac:chgData name="Henry Jammes" userId="5f22554b-fd15-4676-8c82-dc6122af2a80" providerId="ADAL" clId="{5F8C4338-B86B-4715-AA40-2105D5C00436}" dt="2021-06-21T13:33:40.878" v="56"/>
          <ac:spMkLst>
            <pc:docMk/>
            <pc:sldMk cId="2064129829" sldId="2076138110"/>
            <ac:spMk id="43" creationId="{89005234-FF1F-4E61-8FCA-018802DAAE77}"/>
          </ac:spMkLst>
        </pc:spChg>
        <pc:spChg chg="mod">
          <ac:chgData name="Henry Jammes" userId="5f22554b-fd15-4676-8c82-dc6122af2a80" providerId="ADAL" clId="{5F8C4338-B86B-4715-AA40-2105D5C00436}" dt="2021-06-21T13:33:40.878" v="56"/>
          <ac:spMkLst>
            <pc:docMk/>
            <pc:sldMk cId="2064129829" sldId="2076138110"/>
            <ac:spMk id="44" creationId="{494363BE-5AC4-402E-A8C0-5FC268896339}"/>
          </ac:spMkLst>
        </pc:spChg>
        <pc:spChg chg="mod">
          <ac:chgData name="Henry Jammes" userId="5f22554b-fd15-4676-8c82-dc6122af2a80" providerId="ADAL" clId="{5F8C4338-B86B-4715-AA40-2105D5C00436}" dt="2021-06-21T13:33:02.993" v="49" actId="1076"/>
          <ac:spMkLst>
            <pc:docMk/>
            <pc:sldMk cId="2064129829" sldId="2076138110"/>
            <ac:spMk id="48" creationId="{D9A700DD-2AE2-4BB9-B26E-54BE5DCA3E41}"/>
          </ac:spMkLst>
        </pc:spChg>
        <pc:grpChg chg="mod">
          <ac:chgData name="Henry Jammes" userId="5f22554b-fd15-4676-8c82-dc6122af2a80" providerId="ADAL" clId="{5F8C4338-B86B-4715-AA40-2105D5C00436}" dt="2021-06-21T13:33:28.725" v="55" actId="552"/>
          <ac:grpSpMkLst>
            <pc:docMk/>
            <pc:sldMk cId="2064129829" sldId="2076138110"/>
            <ac:grpSpMk id="29" creationId="{4BA75E2D-968A-479B-8368-DD1C898C96F0}"/>
          </ac:grpSpMkLst>
        </pc:grpChg>
        <pc:grpChg chg="mod">
          <ac:chgData name="Henry Jammes" userId="5f22554b-fd15-4676-8c82-dc6122af2a80" providerId="ADAL" clId="{5F8C4338-B86B-4715-AA40-2105D5C00436}" dt="2021-06-21T13:33:28.725" v="55" actId="552"/>
          <ac:grpSpMkLst>
            <pc:docMk/>
            <pc:sldMk cId="2064129829" sldId="2076138110"/>
            <ac:grpSpMk id="36" creationId="{7E962CAA-4527-43D7-8A0B-566B92446D90}"/>
          </ac:grpSpMkLst>
        </pc:grpChg>
        <pc:grpChg chg="add mod">
          <ac:chgData name="Henry Jammes" userId="5f22554b-fd15-4676-8c82-dc6122af2a80" providerId="ADAL" clId="{5F8C4338-B86B-4715-AA40-2105D5C00436}" dt="2021-06-21T13:33:58.710" v="68" actId="1036"/>
          <ac:grpSpMkLst>
            <pc:docMk/>
            <pc:sldMk cId="2064129829" sldId="2076138110"/>
            <ac:grpSpMk id="42" creationId="{20734C93-0D06-48FC-B158-F2D7EAF69CFE}"/>
          </ac:grpSpMkLst>
        </pc:grpChg>
        <pc:grpChg chg="mod">
          <ac:chgData name="Henry Jammes" userId="5f22554b-fd15-4676-8c82-dc6122af2a80" providerId="ADAL" clId="{5F8C4338-B86B-4715-AA40-2105D5C00436}" dt="2021-06-21T13:33:28.725" v="55" actId="552"/>
          <ac:grpSpMkLst>
            <pc:docMk/>
            <pc:sldMk cId="2064129829" sldId="2076138110"/>
            <ac:grpSpMk id="53" creationId="{C0CDEDD2-54F4-454B-AC07-93D03D76D847}"/>
          </ac:grpSpMkLst>
        </pc:grpChg>
        <pc:grpChg chg="mod">
          <ac:chgData name="Henry Jammes" userId="5f22554b-fd15-4676-8c82-dc6122af2a80" providerId="ADAL" clId="{5F8C4338-B86B-4715-AA40-2105D5C00436}" dt="2021-06-21T13:33:28.725" v="55" actId="552"/>
          <ac:grpSpMkLst>
            <pc:docMk/>
            <pc:sldMk cId="2064129829" sldId="2076138110"/>
            <ac:grpSpMk id="56" creationId="{1CDFA9B9-C3C0-4D77-A1D5-B6FF095B3553}"/>
          </ac:grpSpMkLst>
        </pc:grpChg>
        <pc:cxnChg chg="mod">
          <ac:chgData name="Henry Jammes" userId="5f22554b-fd15-4676-8c82-dc6122af2a80" providerId="ADAL" clId="{5F8C4338-B86B-4715-AA40-2105D5C00436}" dt="2021-06-21T13:32:27.177" v="38" actId="1035"/>
          <ac:cxnSpMkLst>
            <pc:docMk/>
            <pc:sldMk cId="2064129829" sldId="2076138110"/>
            <ac:cxnSpMk id="23" creationId="{8196B560-76E9-4D9A-AE5E-9474F8AFEE3E}"/>
          </ac:cxnSpMkLst>
        </pc:cxnChg>
        <pc:cxnChg chg="add del mod">
          <ac:chgData name="Henry Jammes" userId="5f22554b-fd15-4676-8c82-dc6122af2a80" providerId="ADAL" clId="{5F8C4338-B86B-4715-AA40-2105D5C00436}" dt="2021-06-21T13:33:53.812" v="64" actId="478"/>
          <ac:cxnSpMkLst>
            <pc:docMk/>
            <pc:sldMk cId="2064129829" sldId="2076138110"/>
            <ac:cxnSpMk id="27" creationId="{066B4A7B-2BDA-4281-A457-4D15E9E6DCC1}"/>
          </ac:cxnSpMkLst>
        </pc:cxnChg>
        <pc:cxnChg chg="mod">
          <ac:chgData name="Henry Jammes" userId="5f22554b-fd15-4676-8c82-dc6122af2a80" providerId="ADAL" clId="{5F8C4338-B86B-4715-AA40-2105D5C00436}" dt="2021-06-21T13:32:58.718" v="47" actId="1076"/>
          <ac:cxnSpMkLst>
            <pc:docMk/>
            <pc:sldMk cId="2064129829" sldId="2076138110"/>
            <ac:cxnSpMk id="34" creationId="{7C95CEAE-E490-4F13-A299-F1A38AF3BD16}"/>
          </ac:cxnSpMkLst>
        </pc:cxnChg>
        <pc:cxnChg chg="add mod">
          <ac:chgData name="Henry Jammes" userId="5f22554b-fd15-4676-8c82-dc6122af2a80" providerId="ADAL" clId="{5F8C4338-B86B-4715-AA40-2105D5C00436}" dt="2021-06-21T13:33:51.373" v="60" actId="1036"/>
          <ac:cxnSpMkLst>
            <pc:docMk/>
            <pc:sldMk cId="2064129829" sldId="2076138110"/>
            <ac:cxnSpMk id="45" creationId="{DE94E34A-C329-40D0-8E17-89BD032D9AF3}"/>
          </ac:cxnSpMkLst>
        </pc:cxnChg>
      </pc:sldChg>
      <pc:sldChg chg="modSp mod">
        <pc:chgData name="Henry Jammes" userId="5f22554b-fd15-4676-8c82-dc6122af2a80" providerId="ADAL" clId="{5F8C4338-B86B-4715-AA40-2105D5C00436}" dt="2021-06-21T13:12:15.613" v="0" actId="108"/>
        <pc:sldMkLst>
          <pc:docMk/>
          <pc:sldMk cId="1207913312" sldId="2076138114"/>
        </pc:sldMkLst>
        <pc:spChg chg="mod">
          <ac:chgData name="Henry Jammes" userId="5f22554b-fd15-4676-8c82-dc6122af2a80" providerId="ADAL" clId="{5F8C4338-B86B-4715-AA40-2105D5C00436}" dt="2021-06-21T13:12:15.613" v="0" actId="108"/>
          <ac:spMkLst>
            <pc:docMk/>
            <pc:sldMk cId="1207913312" sldId="2076138114"/>
            <ac:spMk id="36" creationId="{D605AD90-8006-4E14-AD43-41626111AA21}"/>
          </ac:spMkLst>
        </pc:spChg>
      </pc:sldChg>
    </pc:docChg>
  </pc:docChgLst>
  <pc:docChgLst>
    <pc:chgData name="Henry Jammes" userId="5f22554b-fd15-4676-8c82-dc6122af2a80" providerId="ADAL" clId="{E1130759-4771-4FF1-B53C-561D40CDC7D5}"/>
    <pc:docChg chg="undo custSel modSld">
      <pc:chgData name="Henry Jammes" userId="5f22554b-fd15-4676-8c82-dc6122af2a80" providerId="ADAL" clId="{E1130759-4771-4FF1-B53C-561D40CDC7D5}" dt="2021-10-13T09:59:56.985" v="65" actId="478"/>
      <pc:docMkLst>
        <pc:docMk/>
      </pc:docMkLst>
      <pc:sldChg chg="addSp delSp modSp mod">
        <pc:chgData name="Henry Jammes" userId="5f22554b-fd15-4676-8c82-dc6122af2a80" providerId="ADAL" clId="{E1130759-4771-4FF1-B53C-561D40CDC7D5}" dt="2021-10-13T09:59:47.508" v="47" actId="478"/>
        <pc:sldMkLst>
          <pc:docMk/>
          <pc:sldMk cId="477144629" sldId="10248"/>
        </pc:sldMkLst>
        <pc:spChg chg="add del">
          <ac:chgData name="Henry Jammes" userId="5f22554b-fd15-4676-8c82-dc6122af2a80" providerId="ADAL" clId="{E1130759-4771-4FF1-B53C-561D40CDC7D5}" dt="2021-10-13T09:59:47.508" v="47" actId="478"/>
          <ac:spMkLst>
            <pc:docMk/>
            <pc:sldMk cId="477144629" sldId="10248"/>
            <ac:spMk id="5" creationId="{2BCE43B4-7B8C-47E7-AAF2-8374593499E7}"/>
          </ac:spMkLst>
        </pc:spChg>
        <pc:spChg chg="add del">
          <ac:chgData name="Henry Jammes" userId="5f22554b-fd15-4676-8c82-dc6122af2a80" providerId="ADAL" clId="{E1130759-4771-4FF1-B53C-561D40CDC7D5}" dt="2021-10-13T09:58:47.267" v="35" actId="22"/>
          <ac:spMkLst>
            <pc:docMk/>
            <pc:sldMk cId="477144629" sldId="10248"/>
            <ac:spMk id="7" creationId="{2B2B314C-73E5-4516-B19A-E2DB926B9A69}"/>
          </ac:spMkLst>
        </pc:spChg>
        <pc:spChg chg="add del mod">
          <ac:chgData name="Henry Jammes" userId="5f22554b-fd15-4676-8c82-dc6122af2a80" providerId="ADAL" clId="{E1130759-4771-4FF1-B53C-561D40CDC7D5}" dt="2021-10-13T09:59:47.063" v="46" actId="22"/>
          <ac:spMkLst>
            <pc:docMk/>
            <pc:sldMk cId="477144629" sldId="10248"/>
            <ac:spMk id="8" creationId="{0C9E2887-67D9-4EB2-A583-BBF2F0B3919F}"/>
          </ac:spMkLst>
        </pc:spChg>
        <pc:picChg chg="add del">
          <ac:chgData name="Henry Jammes" userId="5f22554b-fd15-4676-8c82-dc6122af2a80" providerId="ADAL" clId="{E1130759-4771-4FF1-B53C-561D40CDC7D5}" dt="2021-10-13T09:58:41.359" v="33" actId="22"/>
          <ac:picMkLst>
            <pc:docMk/>
            <pc:sldMk cId="477144629" sldId="10248"/>
            <ac:picMk id="6" creationId="{7612F745-EE19-4CA1-9872-7D378BEB33BF}"/>
          </ac:picMkLst>
        </pc:picChg>
      </pc:sldChg>
      <pc:sldChg chg="addSp delSp modSp mod">
        <pc:chgData name="Henry Jammes" userId="5f22554b-fd15-4676-8c82-dc6122af2a80" providerId="ADAL" clId="{E1130759-4771-4FF1-B53C-561D40CDC7D5}" dt="2021-10-13T09:59:56.985" v="65" actId="478"/>
        <pc:sldMkLst>
          <pc:docMk/>
          <pc:sldMk cId="2889224282" sldId="10336"/>
        </pc:sldMkLst>
        <pc:spChg chg="add del mod">
          <ac:chgData name="Henry Jammes" userId="5f22554b-fd15-4676-8c82-dc6122af2a80" providerId="ADAL" clId="{E1130759-4771-4FF1-B53C-561D40CDC7D5}" dt="2021-10-13T09:59:56.985" v="65" actId="478"/>
          <ac:spMkLst>
            <pc:docMk/>
            <pc:sldMk cId="2889224282" sldId="10336"/>
            <ac:spMk id="4" creationId="{5E1DB671-D66F-4EA5-96E1-F383381D6740}"/>
          </ac:spMkLst>
        </pc:spChg>
        <pc:spChg chg="add del mod">
          <ac:chgData name="Henry Jammes" userId="5f22554b-fd15-4676-8c82-dc6122af2a80" providerId="ADAL" clId="{E1130759-4771-4FF1-B53C-561D40CDC7D5}" dt="2021-10-13T09:59:49.666" v="50" actId="22"/>
          <ac:spMkLst>
            <pc:docMk/>
            <pc:sldMk cId="2889224282" sldId="10336"/>
            <ac:spMk id="5" creationId="{A45C437C-BE12-4AC3-98A6-BFE7A084FDBA}"/>
          </ac:spMkLst>
        </pc:spChg>
      </pc:sldChg>
    </pc:docChg>
  </pc:docChgLst>
  <pc:docChgLst>
    <pc:chgData name="Rich Black" userId="S::riblack@microsoft.com::b49cc34d-059b-4351-ba76-9f03c1133ec4" providerId="AD" clId="Web-{A7B883DA-6866-758E-FCCB-735F6494AB88}"/>
    <pc:docChg chg="modSld">
      <pc:chgData name="Rich Black" userId="S::riblack@microsoft.com::b49cc34d-059b-4351-ba76-9f03c1133ec4" providerId="AD" clId="Web-{A7B883DA-6866-758E-FCCB-735F6494AB88}" dt="2021-06-10T19:29:01.528" v="2" actId="20577"/>
      <pc:docMkLst>
        <pc:docMk/>
      </pc:docMkLst>
      <pc:sldChg chg="modSp">
        <pc:chgData name="Rich Black" userId="S::riblack@microsoft.com::b49cc34d-059b-4351-ba76-9f03c1133ec4" providerId="AD" clId="Web-{A7B883DA-6866-758E-FCCB-735F6494AB88}" dt="2021-06-10T19:29:01.528" v="2" actId="20577"/>
        <pc:sldMkLst>
          <pc:docMk/>
          <pc:sldMk cId="561760022" sldId="10292"/>
        </pc:sldMkLst>
        <pc:spChg chg="mod">
          <ac:chgData name="Rich Black" userId="S::riblack@microsoft.com::b49cc34d-059b-4351-ba76-9f03c1133ec4" providerId="AD" clId="Web-{A7B883DA-6866-758E-FCCB-735F6494AB88}" dt="2021-06-10T19:29:01.528" v="2" actId="20577"/>
          <ac:spMkLst>
            <pc:docMk/>
            <pc:sldMk cId="561760022" sldId="10292"/>
            <ac:spMk id="26" creationId="{2D25F1DB-E5EF-43B7-90EE-38A06D4259B9}"/>
          </ac:spMkLst>
        </pc:spChg>
      </pc:sldChg>
    </pc:docChg>
  </pc:docChgLst>
  <pc:docChgLst>
    <pc:chgData name="Henry Jammes" userId="5f22554b-fd15-4676-8c82-dc6122af2a80" providerId="ADAL" clId="{97ED4A04-9D38-4FA7-9FDD-FE1CBB395B77}"/>
    <pc:docChg chg="undo custSel addSld delSld modSld sldOrd delMainMaster modMainMaster addSection delSection modSection">
      <pc:chgData name="Henry Jammes" userId="5f22554b-fd15-4676-8c82-dc6122af2a80" providerId="ADAL" clId="{97ED4A04-9D38-4FA7-9FDD-FE1CBB395B77}" dt="2021-03-04T16:59:42.221" v="1900"/>
      <pc:docMkLst>
        <pc:docMk/>
      </pc:docMkLst>
      <pc:sldChg chg="addSp delSp modSp mod">
        <pc:chgData name="Henry Jammes" userId="5f22554b-fd15-4676-8c82-dc6122af2a80" providerId="ADAL" clId="{97ED4A04-9D38-4FA7-9FDD-FE1CBB395B77}" dt="2021-03-04T14:04:30.156" v="1054" actId="1036"/>
        <pc:sldMkLst>
          <pc:docMk/>
          <pc:sldMk cId="1094870920" sldId="1735"/>
        </pc:sldMkLst>
        <pc:spChg chg="mod">
          <ac:chgData name="Henry Jammes" userId="5f22554b-fd15-4676-8c82-dc6122af2a80" providerId="ADAL" clId="{97ED4A04-9D38-4FA7-9FDD-FE1CBB395B77}" dt="2021-03-03T16:23:35.570" v="60" actId="790"/>
          <ac:spMkLst>
            <pc:docMk/>
            <pc:sldMk cId="1094870920" sldId="1735"/>
            <ac:spMk id="2" creationId="{45010FE8-BF09-4146-B084-66CB05B66FD9}"/>
          </ac:spMkLst>
        </pc:spChg>
        <pc:spChg chg="mod">
          <ac:chgData name="Henry Jammes" userId="5f22554b-fd15-4676-8c82-dc6122af2a80" providerId="ADAL" clId="{97ED4A04-9D38-4FA7-9FDD-FE1CBB395B77}" dt="2021-03-03T16:23:35.570" v="60" actId="790"/>
          <ac:spMkLst>
            <pc:docMk/>
            <pc:sldMk cId="1094870920" sldId="1735"/>
            <ac:spMk id="3" creationId="{AC4A72DC-5E6C-4E8C-8148-933FB41CA625}"/>
          </ac:spMkLst>
        </pc:spChg>
        <pc:spChg chg="mod">
          <ac:chgData name="Henry Jammes" userId="5f22554b-fd15-4676-8c82-dc6122af2a80" providerId="ADAL" clId="{97ED4A04-9D38-4FA7-9FDD-FE1CBB395B77}" dt="2021-03-03T16:23:35.570" v="60" actId="790"/>
          <ac:spMkLst>
            <pc:docMk/>
            <pc:sldMk cId="1094870920" sldId="1735"/>
            <ac:spMk id="4" creationId="{3E12CF18-F8F2-4922-9567-E9E48B103A20}"/>
          </ac:spMkLst>
        </pc:spChg>
        <pc:spChg chg="mod">
          <ac:chgData name="Henry Jammes" userId="5f22554b-fd15-4676-8c82-dc6122af2a80" providerId="ADAL" clId="{97ED4A04-9D38-4FA7-9FDD-FE1CBB395B77}" dt="2021-03-03T16:23:35.570" v="60" actId="790"/>
          <ac:spMkLst>
            <pc:docMk/>
            <pc:sldMk cId="1094870920" sldId="1735"/>
            <ac:spMk id="5" creationId="{25F2B421-9BE4-413A-803D-5B521689670A}"/>
          </ac:spMkLst>
        </pc:spChg>
        <pc:spChg chg="mod">
          <ac:chgData name="Henry Jammes" userId="5f22554b-fd15-4676-8c82-dc6122af2a80" providerId="ADAL" clId="{97ED4A04-9D38-4FA7-9FDD-FE1CBB395B77}" dt="2021-03-03T16:23:35.570" v="60" actId="790"/>
          <ac:spMkLst>
            <pc:docMk/>
            <pc:sldMk cId="1094870920" sldId="1735"/>
            <ac:spMk id="6" creationId="{1E0D206A-5ADD-4B31-9AA3-70C7E25C9D13}"/>
          </ac:spMkLst>
        </pc:spChg>
        <pc:spChg chg="mod">
          <ac:chgData name="Henry Jammes" userId="5f22554b-fd15-4676-8c82-dc6122af2a80" providerId="ADAL" clId="{97ED4A04-9D38-4FA7-9FDD-FE1CBB395B77}" dt="2021-03-04T14:04:30.156" v="1054" actId="1036"/>
          <ac:spMkLst>
            <pc:docMk/>
            <pc:sldMk cId="1094870920" sldId="1735"/>
            <ac:spMk id="7" creationId="{D9C75647-D889-4D6D-BAA2-E25037BE2A93}"/>
          </ac:spMkLst>
        </pc:spChg>
        <pc:spChg chg="mod">
          <ac:chgData name="Henry Jammes" userId="5f22554b-fd15-4676-8c82-dc6122af2a80" providerId="ADAL" clId="{97ED4A04-9D38-4FA7-9FDD-FE1CBB395B77}" dt="2021-03-04T14:04:30.156" v="1054" actId="1036"/>
          <ac:spMkLst>
            <pc:docMk/>
            <pc:sldMk cId="1094870920" sldId="1735"/>
            <ac:spMk id="8" creationId="{86F01C8A-BF06-4E77-A5CE-F7A45AF12A83}"/>
          </ac:spMkLst>
        </pc:spChg>
        <pc:spChg chg="mod">
          <ac:chgData name="Henry Jammes" userId="5f22554b-fd15-4676-8c82-dc6122af2a80" providerId="ADAL" clId="{97ED4A04-9D38-4FA7-9FDD-FE1CBB395B77}" dt="2021-03-03T16:23:35.570" v="60" actId="790"/>
          <ac:spMkLst>
            <pc:docMk/>
            <pc:sldMk cId="1094870920" sldId="1735"/>
            <ac:spMk id="40" creationId="{8550DF09-0D7B-4F8E-8ACF-13567A221AF3}"/>
          </ac:spMkLst>
        </pc:spChg>
        <pc:spChg chg="mod">
          <ac:chgData name="Henry Jammes" userId="5f22554b-fd15-4676-8c82-dc6122af2a80" providerId="ADAL" clId="{97ED4A04-9D38-4FA7-9FDD-FE1CBB395B77}" dt="2021-03-03T16:23:35.570" v="60" actId="790"/>
          <ac:spMkLst>
            <pc:docMk/>
            <pc:sldMk cId="1094870920" sldId="1735"/>
            <ac:spMk id="42" creationId="{FCCFC8E7-228A-485F-B89E-E8B4B03CC681}"/>
          </ac:spMkLst>
        </pc:spChg>
        <pc:spChg chg="mod">
          <ac:chgData name="Henry Jammes" userId="5f22554b-fd15-4676-8c82-dc6122af2a80" providerId="ADAL" clId="{97ED4A04-9D38-4FA7-9FDD-FE1CBB395B77}" dt="2021-03-03T16:23:40.576" v="63" actId="20577"/>
          <ac:spMkLst>
            <pc:docMk/>
            <pc:sldMk cId="1094870920" sldId="1735"/>
            <ac:spMk id="55" creationId="{D909AFD3-772D-428E-8735-D3CC0F3F9928}"/>
          </ac:spMkLst>
        </pc:spChg>
        <pc:spChg chg="mod">
          <ac:chgData name="Henry Jammes" userId="5f22554b-fd15-4676-8c82-dc6122af2a80" providerId="ADAL" clId="{97ED4A04-9D38-4FA7-9FDD-FE1CBB395B77}" dt="2021-03-03T16:23:35.570" v="60" actId="790"/>
          <ac:spMkLst>
            <pc:docMk/>
            <pc:sldMk cId="1094870920" sldId="1735"/>
            <ac:spMk id="57" creationId="{9A72F8EA-291F-4570-84D1-25DC141B48F8}"/>
          </ac:spMkLst>
        </pc:spChg>
        <pc:spChg chg="mod">
          <ac:chgData name="Henry Jammes" userId="5f22554b-fd15-4676-8c82-dc6122af2a80" providerId="ADAL" clId="{97ED4A04-9D38-4FA7-9FDD-FE1CBB395B77}" dt="2021-03-03T16:23:35.570" v="60" actId="790"/>
          <ac:spMkLst>
            <pc:docMk/>
            <pc:sldMk cId="1094870920" sldId="1735"/>
            <ac:spMk id="58" creationId="{9A88097F-834B-41ED-84A6-F60654AB22D0}"/>
          </ac:spMkLst>
        </pc:spChg>
        <pc:spChg chg="mod">
          <ac:chgData name="Henry Jammes" userId="5f22554b-fd15-4676-8c82-dc6122af2a80" providerId="ADAL" clId="{97ED4A04-9D38-4FA7-9FDD-FE1CBB395B77}" dt="2021-03-03T18:17:26.932" v="813" actId="20577"/>
          <ac:spMkLst>
            <pc:docMk/>
            <pc:sldMk cId="1094870920" sldId="1735"/>
            <ac:spMk id="65" creationId="{54341627-CD8C-4D9B-8381-28743BCFFBF1}"/>
          </ac:spMkLst>
        </pc:spChg>
        <pc:spChg chg="mod">
          <ac:chgData name="Henry Jammes" userId="5f22554b-fd15-4676-8c82-dc6122af2a80" providerId="ADAL" clId="{97ED4A04-9D38-4FA7-9FDD-FE1CBB395B77}" dt="2021-03-03T16:23:35.570" v="60" actId="790"/>
          <ac:spMkLst>
            <pc:docMk/>
            <pc:sldMk cId="1094870920" sldId="1735"/>
            <ac:spMk id="67" creationId="{B2BD1EA2-61E0-4EC2-AD0B-094D0B9C4D0E}"/>
          </ac:spMkLst>
        </pc:spChg>
        <pc:spChg chg="mod">
          <ac:chgData name="Henry Jammes" userId="5f22554b-fd15-4676-8c82-dc6122af2a80" providerId="ADAL" clId="{97ED4A04-9D38-4FA7-9FDD-FE1CBB395B77}" dt="2021-03-03T16:23:35.570" v="60" actId="790"/>
          <ac:spMkLst>
            <pc:docMk/>
            <pc:sldMk cId="1094870920" sldId="1735"/>
            <ac:spMk id="68" creationId="{B6DB75E1-7967-41AB-8FD6-5430FCE30183}"/>
          </ac:spMkLst>
        </pc:spChg>
        <pc:spChg chg="mod">
          <ac:chgData name="Henry Jammes" userId="5f22554b-fd15-4676-8c82-dc6122af2a80" providerId="ADAL" clId="{97ED4A04-9D38-4FA7-9FDD-FE1CBB395B77}" dt="2021-03-03T17:48:42.934" v="689" actId="20577"/>
          <ac:spMkLst>
            <pc:docMk/>
            <pc:sldMk cId="1094870920" sldId="1735"/>
            <ac:spMk id="70" creationId="{1CE81B94-64B5-49BC-8A00-1B321C123F69}"/>
          </ac:spMkLst>
        </pc:spChg>
        <pc:spChg chg="mod">
          <ac:chgData name="Henry Jammes" userId="5f22554b-fd15-4676-8c82-dc6122af2a80" providerId="ADAL" clId="{97ED4A04-9D38-4FA7-9FDD-FE1CBB395B77}" dt="2021-03-03T16:23:35.570" v="60" actId="790"/>
          <ac:spMkLst>
            <pc:docMk/>
            <pc:sldMk cId="1094870920" sldId="1735"/>
            <ac:spMk id="72" creationId="{95D38F1C-5C55-4873-BE66-20E7BE3E2EDC}"/>
          </ac:spMkLst>
        </pc:spChg>
        <pc:spChg chg="mod">
          <ac:chgData name="Henry Jammes" userId="5f22554b-fd15-4676-8c82-dc6122af2a80" providerId="ADAL" clId="{97ED4A04-9D38-4FA7-9FDD-FE1CBB395B77}" dt="2021-03-03T16:23:35.570" v="60" actId="790"/>
          <ac:spMkLst>
            <pc:docMk/>
            <pc:sldMk cId="1094870920" sldId="1735"/>
            <ac:spMk id="73" creationId="{E24498CF-9BEE-4E44-B585-1F75DC58AE6B}"/>
          </ac:spMkLst>
        </pc:spChg>
        <pc:spChg chg="mod">
          <ac:chgData name="Henry Jammes" userId="5f22554b-fd15-4676-8c82-dc6122af2a80" providerId="ADAL" clId="{97ED4A04-9D38-4FA7-9FDD-FE1CBB395B77}" dt="2021-03-03T16:23:35.570" v="60" actId="790"/>
          <ac:spMkLst>
            <pc:docMk/>
            <pc:sldMk cId="1094870920" sldId="1735"/>
            <ac:spMk id="75" creationId="{030E3A6F-B40A-4569-AC93-BDC1DEAA095C}"/>
          </ac:spMkLst>
        </pc:spChg>
        <pc:spChg chg="mod">
          <ac:chgData name="Henry Jammes" userId="5f22554b-fd15-4676-8c82-dc6122af2a80" providerId="ADAL" clId="{97ED4A04-9D38-4FA7-9FDD-FE1CBB395B77}" dt="2021-03-03T16:23:35.570" v="60" actId="790"/>
          <ac:spMkLst>
            <pc:docMk/>
            <pc:sldMk cId="1094870920" sldId="1735"/>
            <ac:spMk id="77" creationId="{C0E7479B-2E41-41A8-8F1A-01E828705C0E}"/>
          </ac:spMkLst>
        </pc:spChg>
        <pc:spChg chg="mod">
          <ac:chgData name="Henry Jammes" userId="5f22554b-fd15-4676-8c82-dc6122af2a80" providerId="ADAL" clId="{97ED4A04-9D38-4FA7-9FDD-FE1CBB395B77}" dt="2021-03-03T16:23:35.570" v="60" actId="790"/>
          <ac:spMkLst>
            <pc:docMk/>
            <pc:sldMk cId="1094870920" sldId="1735"/>
            <ac:spMk id="78" creationId="{548EAD0B-AEC3-471A-8197-CE03DECE60EF}"/>
          </ac:spMkLst>
        </pc:spChg>
        <pc:spChg chg="mod">
          <ac:chgData name="Henry Jammes" userId="5f22554b-fd15-4676-8c82-dc6122af2a80" providerId="ADAL" clId="{97ED4A04-9D38-4FA7-9FDD-FE1CBB395B77}" dt="2021-03-03T16:23:35.570" v="60" actId="790"/>
          <ac:spMkLst>
            <pc:docMk/>
            <pc:sldMk cId="1094870920" sldId="1735"/>
            <ac:spMk id="80" creationId="{531F93E7-ED00-4260-816E-6CBCB07E9A23}"/>
          </ac:spMkLst>
        </pc:spChg>
        <pc:spChg chg="mod">
          <ac:chgData name="Henry Jammes" userId="5f22554b-fd15-4676-8c82-dc6122af2a80" providerId="ADAL" clId="{97ED4A04-9D38-4FA7-9FDD-FE1CBB395B77}" dt="2021-03-03T16:23:35.570" v="60" actId="790"/>
          <ac:spMkLst>
            <pc:docMk/>
            <pc:sldMk cId="1094870920" sldId="1735"/>
            <ac:spMk id="82" creationId="{FD2A5F48-3EE0-4254-933E-F0507DBF41A8}"/>
          </ac:spMkLst>
        </pc:spChg>
        <pc:spChg chg="mod">
          <ac:chgData name="Henry Jammes" userId="5f22554b-fd15-4676-8c82-dc6122af2a80" providerId="ADAL" clId="{97ED4A04-9D38-4FA7-9FDD-FE1CBB395B77}" dt="2021-03-03T16:23:35.570" v="60" actId="790"/>
          <ac:spMkLst>
            <pc:docMk/>
            <pc:sldMk cId="1094870920" sldId="1735"/>
            <ac:spMk id="83" creationId="{54D9EF2F-59A7-4FDC-996B-D738619C34AF}"/>
          </ac:spMkLst>
        </pc:spChg>
        <pc:spChg chg="mod">
          <ac:chgData name="Henry Jammes" userId="5f22554b-fd15-4676-8c82-dc6122af2a80" providerId="ADAL" clId="{97ED4A04-9D38-4FA7-9FDD-FE1CBB395B77}" dt="2021-03-03T16:24:00.998" v="78" actId="20577"/>
          <ac:spMkLst>
            <pc:docMk/>
            <pc:sldMk cId="1094870920" sldId="1735"/>
            <ac:spMk id="85" creationId="{8DE2201B-869B-46E1-9DBD-5685B60F9033}"/>
          </ac:spMkLst>
        </pc:spChg>
        <pc:spChg chg="mod">
          <ac:chgData name="Henry Jammes" userId="5f22554b-fd15-4676-8c82-dc6122af2a80" providerId="ADAL" clId="{97ED4A04-9D38-4FA7-9FDD-FE1CBB395B77}" dt="2021-03-03T16:23:35.570" v="60" actId="790"/>
          <ac:spMkLst>
            <pc:docMk/>
            <pc:sldMk cId="1094870920" sldId="1735"/>
            <ac:spMk id="87" creationId="{907CCD18-B526-49B1-B2D6-EC23F8940C59}"/>
          </ac:spMkLst>
        </pc:spChg>
        <pc:spChg chg="mod">
          <ac:chgData name="Henry Jammes" userId="5f22554b-fd15-4676-8c82-dc6122af2a80" providerId="ADAL" clId="{97ED4A04-9D38-4FA7-9FDD-FE1CBB395B77}" dt="2021-03-03T16:23:35.570" v="60" actId="790"/>
          <ac:spMkLst>
            <pc:docMk/>
            <pc:sldMk cId="1094870920" sldId="1735"/>
            <ac:spMk id="88" creationId="{B87852BE-A84F-43C9-9B66-6661E3928140}"/>
          </ac:spMkLst>
        </pc:spChg>
        <pc:spChg chg="mod">
          <ac:chgData name="Henry Jammes" userId="5f22554b-fd15-4676-8c82-dc6122af2a80" providerId="ADAL" clId="{97ED4A04-9D38-4FA7-9FDD-FE1CBB395B77}" dt="2021-03-03T16:24:06.322" v="82" actId="20577"/>
          <ac:spMkLst>
            <pc:docMk/>
            <pc:sldMk cId="1094870920" sldId="1735"/>
            <ac:spMk id="92" creationId="{72338CD4-6943-4E80-9D84-B26117EBF7D3}"/>
          </ac:spMkLst>
        </pc:spChg>
        <pc:spChg chg="mod">
          <ac:chgData name="Henry Jammes" userId="5f22554b-fd15-4676-8c82-dc6122af2a80" providerId="ADAL" clId="{97ED4A04-9D38-4FA7-9FDD-FE1CBB395B77}" dt="2021-03-03T16:23:35.570" v="60" actId="790"/>
          <ac:spMkLst>
            <pc:docMk/>
            <pc:sldMk cId="1094870920" sldId="1735"/>
            <ac:spMk id="94" creationId="{435EF289-2D65-4F5A-B305-094781357BB8}"/>
          </ac:spMkLst>
        </pc:spChg>
        <pc:spChg chg="mod">
          <ac:chgData name="Henry Jammes" userId="5f22554b-fd15-4676-8c82-dc6122af2a80" providerId="ADAL" clId="{97ED4A04-9D38-4FA7-9FDD-FE1CBB395B77}" dt="2021-03-03T16:23:35.570" v="60" actId="790"/>
          <ac:spMkLst>
            <pc:docMk/>
            <pc:sldMk cId="1094870920" sldId="1735"/>
            <ac:spMk id="95" creationId="{6C3AC4F5-B8CF-4C17-AF27-028BA4F2F78A}"/>
          </ac:spMkLst>
        </pc:spChg>
        <pc:spChg chg="mod">
          <ac:chgData name="Henry Jammes" userId="5f22554b-fd15-4676-8c82-dc6122af2a80" providerId="ADAL" clId="{97ED4A04-9D38-4FA7-9FDD-FE1CBB395B77}" dt="2021-03-03T16:23:35.570" v="60" actId="790"/>
          <ac:spMkLst>
            <pc:docMk/>
            <pc:sldMk cId="1094870920" sldId="1735"/>
            <ac:spMk id="96" creationId="{3D9CA0F8-45DB-4452-8902-D59EF6987F2E}"/>
          </ac:spMkLst>
        </pc:spChg>
        <pc:spChg chg="mod">
          <ac:chgData name="Henry Jammes" userId="5f22554b-fd15-4676-8c82-dc6122af2a80" providerId="ADAL" clId="{97ED4A04-9D38-4FA7-9FDD-FE1CBB395B77}" dt="2021-03-03T16:23:35.570" v="60" actId="790"/>
          <ac:spMkLst>
            <pc:docMk/>
            <pc:sldMk cId="1094870920" sldId="1735"/>
            <ac:spMk id="98" creationId="{6FA86199-66F9-4F3F-89F8-C94237687D7B}"/>
          </ac:spMkLst>
        </pc:spChg>
        <pc:spChg chg="mod">
          <ac:chgData name="Henry Jammes" userId="5f22554b-fd15-4676-8c82-dc6122af2a80" providerId="ADAL" clId="{97ED4A04-9D38-4FA7-9FDD-FE1CBB395B77}" dt="2021-03-03T16:23:35.570" v="60" actId="790"/>
          <ac:spMkLst>
            <pc:docMk/>
            <pc:sldMk cId="1094870920" sldId="1735"/>
            <ac:spMk id="99" creationId="{F23DE355-D4CF-4C66-A4EE-67CF9891FB86}"/>
          </ac:spMkLst>
        </pc:spChg>
        <pc:spChg chg="mod">
          <ac:chgData name="Henry Jammes" userId="5f22554b-fd15-4676-8c82-dc6122af2a80" providerId="ADAL" clId="{97ED4A04-9D38-4FA7-9FDD-FE1CBB395B77}" dt="2021-03-03T16:23:35.570" v="60" actId="790"/>
          <ac:spMkLst>
            <pc:docMk/>
            <pc:sldMk cId="1094870920" sldId="1735"/>
            <ac:spMk id="100" creationId="{AF59A492-AF15-447B-8B4C-3EF2C022C1CB}"/>
          </ac:spMkLst>
        </pc:spChg>
        <pc:spChg chg="mod">
          <ac:chgData name="Henry Jammes" userId="5f22554b-fd15-4676-8c82-dc6122af2a80" providerId="ADAL" clId="{97ED4A04-9D38-4FA7-9FDD-FE1CBB395B77}" dt="2021-03-03T16:23:35.570" v="60" actId="790"/>
          <ac:spMkLst>
            <pc:docMk/>
            <pc:sldMk cId="1094870920" sldId="1735"/>
            <ac:spMk id="101" creationId="{44DF95E9-EB5D-45DC-B6C5-FDB46D7810EC}"/>
          </ac:spMkLst>
        </pc:spChg>
        <pc:spChg chg="mod">
          <ac:chgData name="Henry Jammes" userId="5f22554b-fd15-4676-8c82-dc6122af2a80" providerId="ADAL" clId="{97ED4A04-9D38-4FA7-9FDD-FE1CBB395B77}" dt="2021-03-03T16:23:35.570" v="60" actId="790"/>
          <ac:spMkLst>
            <pc:docMk/>
            <pc:sldMk cId="1094870920" sldId="1735"/>
            <ac:spMk id="102" creationId="{2DAF00A7-42CB-487A-A46E-4043059D2A8C}"/>
          </ac:spMkLst>
        </pc:spChg>
        <pc:spChg chg="mod">
          <ac:chgData name="Henry Jammes" userId="5f22554b-fd15-4676-8c82-dc6122af2a80" providerId="ADAL" clId="{97ED4A04-9D38-4FA7-9FDD-FE1CBB395B77}" dt="2021-03-03T16:23:35.570" v="60" actId="790"/>
          <ac:spMkLst>
            <pc:docMk/>
            <pc:sldMk cId="1094870920" sldId="1735"/>
            <ac:spMk id="104" creationId="{D08E7B84-2F88-4D52-9CB4-037578693141}"/>
          </ac:spMkLst>
        </pc:spChg>
        <pc:spChg chg="mod">
          <ac:chgData name="Henry Jammes" userId="5f22554b-fd15-4676-8c82-dc6122af2a80" providerId="ADAL" clId="{97ED4A04-9D38-4FA7-9FDD-FE1CBB395B77}" dt="2021-03-03T18:17:30.501" v="814" actId="20577"/>
          <ac:spMkLst>
            <pc:docMk/>
            <pc:sldMk cId="1094870920" sldId="1735"/>
            <ac:spMk id="109" creationId="{3E4DFA63-3F0D-487B-A03F-3BEC2E1DBE83}"/>
          </ac:spMkLst>
        </pc:spChg>
        <pc:spChg chg="mod">
          <ac:chgData name="Henry Jammes" userId="5f22554b-fd15-4676-8c82-dc6122af2a80" providerId="ADAL" clId="{97ED4A04-9D38-4FA7-9FDD-FE1CBB395B77}" dt="2021-03-03T16:23:35.570" v="60" actId="790"/>
          <ac:spMkLst>
            <pc:docMk/>
            <pc:sldMk cId="1094870920" sldId="1735"/>
            <ac:spMk id="111" creationId="{82885EBC-15AB-4C6C-B918-86D23BF5CC97}"/>
          </ac:spMkLst>
        </pc:spChg>
        <pc:spChg chg="mod">
          <ac:chgData name="Henry Jammes" userId="5f22554b-fd15-4676-8c82-dc6122af2a80" providerId="ADAL" clId="{97ED4A04-9D38-4FA7-9FDD-FE1CBB395B77}" dt="2021-03-03T16:23:35.570" v="60" actId="790"/>
          <ac:spMkLst>
            <pc:docMk/>
            <pc:sldMk cId="1094870920" sldId="1735"/>
            <ac:spMk id="112" creationId="{FF55BADD-5681-4A71-BB66-099FE1C51ACE}"/>
          </ac:spMkLst>
        </pc:spChg>
        <pc:spChg chg="mod">
          <ac:chgData name="Henry Jammes" userId="5f22554b-fd15-4676-8c82-dc6122af2a80" providerId="ADAL" clId="{97ED4A04-9D38-4FA7-9FDD-FE1CBB395B77}" dt="2021-03-03T16:23:35.570" v="60" actId="790"/>
          <ac:spMkLst>
            <pc:docMk/>
            <pc:sldMk cId="1094870920" sldId="1735"/>
            <ac:spMk id="113" creationId="{5E6718CF-EF9F-4C2C-9754-6B9681993E7C}"/>
          </ac:spMkLst>
        </pc:spChg>
        <pc:spChg chg="mod">
          <ac:chgData name="Henry Jammes" userId="5f22554b-fd15-4676-8c82-dc6122af2a80" providerId="ADAL" clId="{97ED4A04-9D38-4FA7-9FDD-FE1CBB395B77}" dt="2021-03-03T16:23:35.570" v="60" actId="790"/>
          <ac:spMkLst>
            <pc:docMk/>
            <pc:sldMk cId="1094870920" sldId="1735"/>
            <ac:spMk id="114" creationId="{C01BE55D-D5D6-4A29-AB40-5AFC7BC9378D}"/>
          </ac:spMkLst>
        </pc:spChg>
        <pc:spChg chg="mod">
          <ac:chgData name="Henry Jammes" userId="5f22554b-fd15-4676-8c82-dc6122af2a80" providerId="ADAL" clId="{97ED4A04-9D38-4FA7-9FDD-FE1CBB395B77}" dt="2021-03-03T16:23:35.570" v="60" actId="790"/>
          <ac:spMkLst>
            <pc:docMk/>
            <pc:sldMk cId="1094870920" sldId="1735"/>
            <ac:spMk id="115" creationId="{5F9F04CA-09D4-42DD-8FC8-C4F30642094A}"/>
          </ac:spMkLst>
        </pc:spChg>
        <pc:spChg chg="mod">
          <ac:chgData name="Henry Jammes" userId="5f22554b-fd15-4676-8c82-dc6122af2a80" providerId="ADAL" clId="{97ED4A04-9D38-4FA7-9FDD-FE1CBB395B77}" dt="2021-03-03T16:23:35.570" v="60" actId="790"/>
          <ac:spMkLst>
            <pc:docMk/>
            <pc:sldMk cId="1094870920" sldId="1735"/>
            <ac:spMk id="116" creationId="{7A19F721-1E85-4AB6-9788-7259E627CA9F}"/>
          </ac:spMkLst>
        </pc:spChg>
        <pc:spChg chg="mod">
          <ac:chgData name="Henry Jammes" userId="5f22554b-fd15-4676-8c82-dc6122af2a80" providerId="ADAL" clId="{97ED4A04-9D38-4FA7-9FDD-FE1CBB395B77}" dt="2021-03-03T16:23:35.570" v="60" actId="790"/>
          <ac:spMkLst>
            <pc:docMk/>
            <pc:sldMk cId="1094870920" sldId="1735"/>
            <ac:spMk id="118" creationId="{0A5D5B54-7EC8-43DB-87A6-F986D213B188}"/>
          </ac:spMkLst>
        </pc:spChg>
        <pc:spChg chg="mod">
          <ac:chgData name="Henry Jammes" userId="5f22554b-fd15-4676-8c82-dc6122af2a80" providerId="ADAL" clId="{97ED4A04-9D38-4FA7-9FDD-FE1CBB395B77}" dt="2021-03-03T16:23:35.570" v="60" actId="790"/>
          <ac:spMkLst>
            <pc:docMk/>
            <pc:sldMk cId="1094870920" sldId="1735"/>
            <ac:spMk id="120" creationId="{455C258E-9A28-41E9-B509-594554546215}"/>
          </ac:spMkLst>
        </pc:spChg>
        <pc:spChg chg="mod">
          <ac:chgData name="Henry Jammes" userId="5f22554b-fd15-4676-8c82-dc6122af2a80" providerId="ADAL" clId="{97ED4A04-9D38-4FA7-9FDD-FE1CBB395B77}" dt="2021-03-03T16:23:35.570" v="60" actId="790"/>
          <ac:spMkLst>
            <pc:docMk/>
            <pc:sldMk cId="1094870920" sldId="1735"/>
            <ac:spMk id="121" creationId="{A3BD8930-5C67-4C36-8762-2885D738CC62}"/>
          </ac:spMkLst>
        </pc:spChg>
        <pc:spChg chg="mod">
          <ac:chgData name="Henry Jammes" userId="5f22554b-fd15-4676-8c82-dc6122af2a80" providerId="ADAL" clId="{97ED4A04-9D38-4FA7-9FDD-FE1CBB395B77}" dt="2021-03-03T16:23:35.570" v="60" actId="790"/>
          <ac:spMkLst>
            <pc:docMk/>
            <pc:sldMk cId="1094870920" sldId="1735"/>
            <ac:spMk id="123" creationId="{829F23F9-518C-45D3-9766-1777CA6E0A0E}"/>
          </ac:spMkLst>
        </pc:spChg>
        <pc:spChg chg="mod">
          <ac:chgData name="Henry Jammes" userId="5f22554b-fd15-4676-8c82-dc6122af2a80" providerId="ADAL" clId="{97ED4A04-9D38-4FA7-9FDD-FE1CBB395B77}" dt="2021-03-03T16:23:35.570" v="60" actId="790"/>
          <ac:spMkLst>
            <pc:docMk/>
            <pc:sldMk cId="1094870920" sldId="1735"/>
            <ac:spMk id="125" creationId="{F6698F81-4729-4466-834A-170E54525C18}"/>
          </ac:spMkLst>
        </pc:spChg>
        <pc:spChg chg="mod">
          <ac:chgData name="Henry Jammes" userId="5f22554b-fd15-4676-8c82-dc6122af2a80" providerId="ADAL" clId="{97ED4A04-9D38-4FA7-9FDD-FE1CBB395B77}" dt="2021-03-03T16:23:35.570" v="60" actId="790"/>
          <ac:spMkLst>
            <pc:docMk/>
            <pc:sldMk cId="1094870920" sldId="1735"/>
            <ac:spMk id="126" creationId="{ECCA9FD5-E62C-4D97-9FC7-939272954B9F}"/>
          </ac:spMkLst>
        </pc:spChg>
        <pc:grpChg chg="add del">
          <ac:chgData name="Henry Jammes" userId="5f22554b-fd15-4676-8c82-dc6122af2a80" providerId="ADAL" clId="{97ED4A04-9D38-4FA7-9FDD-FE1CBB395B77}" dt="2021-03-03T18:16:50.870" v="807" actId="478"/>
          <ac:grpSpMkLst>
            <pc:docMk/>
            <pc:sldMk cId="1094870920" sldId="1735"/>
            <ac:grpSpMk id="64" creationId="{C25BF092-9D17-40D4-AEA1-85E84CD38EE6}"/>
          </ac:grpSpMkLst>
        </pc:grpChg>
        <pc:grpChg chg="del">
          <ac:chgData name="Henry Jammes" userId="5f22554b-fd15-4676-8c82-dc6122af2a80" providerId="ADAL" clId="{97ED4A04-9D38-4FA7-9FDD-FE1CBB395B77}" dt="2021-03-03T18:16:47.484" v="805" actId="478"/>
          <ac:grpSpMkLst>
            <pc:docMk/>
            <pc:sldMk cId="1094870920" sldId="1735"/>
            <ac:grpSpMk id="69" creationId="{199D9518-4245-48DA-AFDC-44848BB4C33A}"/>
          </ac:grpSpMkLst>
        </pc:grpChg>
        <pc:grpChg chg="mod">
          <ac:chgData name="Henry Jammes" userId="5f22554b-fd15-4676-8c82-dc6122af2a80" providerId="ADAL" clId="{97ED4A04-9D38-4FA7-9FDD-FE1CBB395B77}" dt="2021-03-04T14:04:30.156" v="1054" actId="1036"/>
          <ac:grpSpMkLst>
            <pc:docMk/>
            <pc:sldMk cId="1094870920" sldId="1735"/>
            <ac:grpSpMk id="74" creationId="{50C4E2D5-ABEE-4F1C-8DF5-73DE5AC2F27A}"/>
          </ac:grpSpMkLst>
        </pc:grpChg>
        <pc:grpChg chg="mod">
          <ac:chgData name="Henry Jammes" userId="5f22554b-fd15-4676-8c82-dc6122af2a80" providerId="ADAL" clId="{97ED4A04-9D38-4FA7-9FDD-FE1CBB395B77}" dt="2021-03-04T14:04:30.156" v="1054" actId="1036"/>
          <ac:grpSpMkLst>
            <pc:docMk/>
            <pc:sldMk cId="1094870920" sldId="1735"/>
            <ac:grpSpMk id="79" creationId="{00543721-9F23-4D2C-A13E-D93B984A9FDA}"/>
          </ac:grpSpMkLst>
        </pc:grpChg>
        <pc:grpChg chg="mod">
          <ac:chgData name="Henry Jammes" userId="5f22554b-fd15-4676-8c82-dc6122af2a80" providerId="ADAL" clId="{97ED4A04-9D38-4FA7-9FDD-FE1CBB395B77}" dt="2021-03-04T14:04:30.156" v="1054" actId="1036"/>
          <ac:grpSpMkLst>
            <pc:docMk/>
            <pc:sldMk cId="1094870920" sldId="1735"/>
            <ac:grpSpMk id="84" creationId="{95831B84-1C17-4A14-9584-93D7C92B4AC9}"/>
          </ac:grpSpMkLst>
        </pc:grpChg>
        <pc:grpChg chg="del">
          <ac:chgData name="Henry Jammes" userId="5f22554b-fd15-4676-8c82-dc6122af2a80" providerId="ADAL" clId="{97ED4A04-9D38-4FA7-9FDD-FE1CBB395B77}" dt="2021-03-03T18:16:25.919" v="775" actId="478"/>
          <ac:grpSpMkLst>
            <pc:docMk/>
            <pc:sldMk cId="1094870920" sldId="1735"/>
            <ac:grpSpMk id="91" creationId="{A645E977-9BD5-46E0-A3ED-5E1BA60BC0A9}"/>
          </ac:grpSpMkLst>
        </pc:grpChg>
        <pc:grpChg chg="mod">
          <ac:chgData name="Henry Jammes" userId="5f22554b-fd15-4676-8c82-dc6122af2a80" providerId="ADAL" clId="{97ED4A04-9D38-4FA7-9FDD-FE1CBB395B77}" dt="2021-03-04T14:04:30.156" v="1054" actId="1036"/>
          <ac:grpSpMkLst>
            <pc:docMk/>
            <pc:sldMk cId="1094870920" sldId="1735"/>
            <ac:grpSpMk id="108" creationId="{1968FCB1-4939-4B68-8DC9-516AB0B3F2DD}"/>
          </ac:grpSpMkLst>
        </pc:grpChg>
        <pc:cxnChg chg="del">
          <ac:chgData name="Henry Jammes" userId="5f22554b-fd15-4676-8c82-dc6122af2a80" providerId="ADAL" clId="{97ED4A04-9D38-4FA7-9FDD-FE1CBB395B77}" dt="2021-03-03T18:16:25.919" v="775" actId="478"/>
          <ac:cxnSpMkLst>
            <pc:docMk/>
            <pc:sldMk cId="1094870920" sldId="1735"/>
            <ac:cxnSpMk id="14" creationId="{7DE79E99-1A7E-41D9-A8BA-DA70FCA3D1A3}"/>
          </ac:cxnSpMkLst>
        </pc:cxnChg>
        <pc:cxnChg chg="del">
          <ac:chgData name="Henry Jammes" userId="5f22554b-fd15-4676-8c82-dc6122af2a80" providerId="ADAL" clId="{97ED4A04-9D38-4FA7-9FDD-FE1CBB395B77}" dt="2021-03-03T18:16:52.374" v="808" actId="478"/>
          <ac:cxnSpMkLst>
            <pc:docMk/>
            <pc:sldMk cId="1094870920" sldId="1735"/>
            <ac:cxnSpMk id="49" creationId="{F03F52E1-9D12-4CD8-9AFB-DF3694F8E8DF}"/>
          </ac:cxnSpMkLst>
        </pc:cxnChg>
        <pc:cxnChg chg="mod">
          <ac:chgData name="Henry Jammes" userId="5f22554b-fd15-4676-8c82-dc6122af2a80" providerId="ADAL" clId="{97ED4A04-9D38-4FA7-9FDD-FE1CBB395B77}" dt="2021-03-04T14:04:30.156" v="1054" actId="1036"/>
          <ac:cxnSpMkLst>
            <pc:docMk/>
            <pc:sldMk cId="1094870920" sldId="1735"/>
            <ac:cxnSpMk id="52" creationId="{721FE680-81D2-484D-B86E-D8BCF74079FD}"/>
          </ac:cxnSpMkLst>
        </pc:cxnChg>
        <pc:cxnChg chg="mod">
          <ac:chgData name="Henry Jammes" userId="5f22554b-fd15-4676-8c82-dc6122af2a80" providerId="ADAL" clId="{97ED4A04-9D38-4FA7-9FDD-FE1CBB395B77}" dt="2021-03-04T14:04:30.156" v="1054" actId="1036"/>
          <ac:cxnSpMkLst>
            <pc:docMk/>
            <pc:sldMk cId="1094870920" sldId="1735"/>
            <ac:cxnSpMk id="53" creationId="{76FF7EC1-B2EB-4DC5-B055-C580BB6B5166}"/>
          </ac:cxnSpMkLst>
        </pc:cxnChg>
        <pc:cxnChg chg="mod">
          <ac:chgData name="Henry Jammes" userId="5f22554b-fd15-4676-8c82-dc6122af2a80" providerId="ADAL" clId="{97ED4A04-9D38-4FA7-9FDD-FE1CBB395B77}" dt="2021-03-04T14:04:30.156" v="1054" actId="1036"/>
          <ac:cxnSpMkLst>
            <pc:docMk/>
            <pc:sldMk cId="1094870920" sldId="1735"/>
            <ac:cxnSpMk id="105" creationId="{659FEA74-C3DC-4508-BE4F-3AF4CD4B39B4}"/>
          </ac:cxnSpMkLst>
        </pc:cxnChg>
      </pc:sldChg>
      <pc:sldChg chg="addSp delSp modSp mod delCm modCm modNotesTx">
        <pc:chgData name="Henry Jammes" userId="5f22554b-fd15-4676-8c82-dc6122af2a80" providerId="ADAL" clId="{97ED4A04-9D38-4FA7-9FDD-FE1CBB395B77}" dt="2021-03-04T16:59:42.221" v="1900"/>
        <pc:sldMkLst>
          <pc:docMk/>
          <pc:sldMk cId="2345068032" sldId="1786"/>
        </pc:sldMkLst>
        <pc:spChg chg="add del mod">
          <ac:chgData name="Henry Jammes" userId="5f22554b-fd15-4676-8c82-dc6122af2a80" providerId="ADAL" clId="{97ED4A04-9D38-4FA7-9FDD-FE1CBB395B77}" dt="2021-03-04T14:20:57.520" v="1270" actId="22"/>
          <ac:spMkLst>
            <pc:docMk/>
            <pc:sldMk cId="2345068032" sldId="1786"/>
            <ac:spMk id="3" creationId="{526A9FBE-84CA-4B8E-94C2-6383DD8868F4}"/>
          </ac:spMkLst>
        </pc:spChg>
        <pc:spChg chg="del">
          <ac:chgData name="Henry Jammes" userId="5f22554b-fd15-4676-8c82-dc6122af2a80" providerId="ADAL" clId="{97ED4A04-9D38-4FA7-9FDD-FE1CBB395B77}" dt="2021-03-04T14:04:47.227" v="1055" actId="478"/>
          <ac:spMkLst>
            <pc:docMk/>
            <pc:sldMk cId="2345068032" sldId="1786"/>
            <ac:spMk id="5" creationId="{D02343DB-F108-4C22-8D39-C82CBE122967}"/>
          </ac:spMkLst>
        </pc:spChg>
        <pc:spChg chg="add del mod">
          <ac:chgData name="Henry Jammes" userId="5f22554b-fd15-4676-8c82-dc6122af2a80" providerId="ADAL" clId="{97ED4A04-9D38-4FA7-9FDD-FE1CBB395B77}" dt="2021-03-04T14:21:35.812" v="1279" actId="478"/>
          <ac:spMkLst>
            <pc:docMk/>
            <pc:sldMk cId="2345068032" sldId="1786"/>
            <ac:spMk id="6" creationId="{B3B256E6-C248-4F4E-A76F-E1559F93C8C4}"/>
          </ac:spMkLst>
        </pc:spChg>
        <pc:spChg chg="del mod">
          <ac:chgData name="Henry Jammes" userId="5f22554b-fd15-4676-8c82-dc6122af2a80" providerId="ADAL" clId="{97ED4A04-9D38-4FA7-9FDD-FE1CBB395B77}" dt="2021-03-04T14:21:29.006" v="1274" actId="21"/>
          <ac:spMkLst>
            <pc:docMk/>
            <pc:sldMk cId="2345068032" sldId="1786"/>
            <ac:spMk id="11" creationId="{76583F2C-13BC-4FA8-A9DE-F1F764C38F10}"/>
          </ac:spMkLst>
        </pc:spChg>
        <pc:spChg chg="mod">
          <ac:chgData name="Henry Jammes" userId="5f22554b-fd15-4676-8c82-dc6122af2a80" providerId="ADAL" clId="{97ED4A04-9D38-4FA7-9FDD-FE1CBB395B77}" dt="2021-03-04T14:21:41.668" v="1280" actId="14100"/>
          <ac:spMkLst>
            <pc:docMk/>
            <pc:sldMk cId="2345068032" sldId="1786"/>
            <ac:spMk id="15" creationId="{BDD64BFD-7ED9-4476-ABC3-6BBAC4A275B2}"/>
          </ac:spMkLst>
        </pc:spChg>
        <pc:spChg chg="add del">
          <ac:chgData name="Henry Jammes" userId="5f22554b-fd15-4676-8c82-dc6122af2a80" providerId="ADAL" clId="{97ED4A04-9D38-4FA7-9FDD-FE1CBB395B77}" dt="2021-03-04T14:21:01.065" v="1272" actId="22"/>
          <ac:spMkLst>
            <pc:docMk/>
            <pc:sldMk cId="2345068032" sldId="1786"/>
            <ac:spMk id="16" creationId="{04CF57A8-7E97-4B7C-970B-5C9FBB0BBAC6}"/>
          </ac:spMkLst>
        </pc:spChg>
        <pc:spChg chg="mod">
          <ac:chgData name="Henry Jammes" userId="5f22554b-fd15-4676-8c82-dc6122af2a80" providerId="ADAL" clId="{97ED4A04-9D38-4FA7-9FDD-FE1CBB395B77}" dt="2021-03-04T14:21:33.556" v="1278"/>
          <ac:spMkLst>
            <pc:docMk/>
            <pc:sldMk cId="2345068032" sldId="1786"/>
            <ac:spMk id="18" creationId="{4C24DECB-A584-4AFD-AD1D-3AAD825386B4}"/>
          </ac:spMkLst>
        </pc:spChg>
        <pc:spChg chg="mod">
          <ac:chgData name="Henry Jammes" userId="5f22554b-fd15-4676-8c82-dc6122af2a80" providerId="ADAL" clId="{97ED4A04-9D38-4FA7-9FDD-FE1CBB395B77}" dt="2021-03-04T14:21:07.829" v="1273"/>
          <ac:spMkLst>
            <pc:docMk/>
            <pc:sldMk cId="2345068032" sldId="1786"/>
            <ac:spMk id="20" creationId="{6DDEBEBA-C2FC-4B5C-A2C5-38902550C1AB}"/>
          </ac:spMkLst>
        </pc:spChg>
        <pc:spChg chg="mod">
          <ac:chgData name="Henry Jammes" userId="5f22554b-fd15-4676-8c82-dc6122af2a80" providerId="ADAL" clId="{97ED4A04-9D38-4FA7-9FDD-FE1CBB395B77}" dt="2021-03-04T14:21:07.829" v="1273"/>
          <ac:spMkLst>
            <pc:docMk/>
            <pc:sldMk cId="2345068032" sldId="1786"/>
            <ac:spMk id="21" creationId="{22DD4DFC-D600-43E6-B305-138DD2190CE6}"/>
          </ac:spMkLst>
        </pc:spChg>
        <pc:grpChg chg="add mod">
          <ac:chgData name="Henry Jammes" userId="5f22554b-fd15-4676-8c82-dc6122af2a80" providerId="ADAL" clId="{97ED4A04-9D38-4FA7-9FDD-FE1CBB395B77}" dt="2021-03-04T14:21:07.829" v="1273"/>
          <ac:grpSpMkLst>
            <pc:docMk/>
            <pc:sldMk cId="2345068032" sldId="1786"/>
            <ac:grpSpMk id="17" creationId="{B2730E34-9E2B-4E6B-8A59-2C5F18968C4B}"/>
          </ac:grpSpMkLst>
        </pc:grpChg>
        <pc:grpChg chg="mod">
          <ac:chgData name="Henry Jammes" userId="5f22554b-fd15-4676-8c82-dc6122af2a80" providerId="ADAL" clId="{97ED4A04-9D38-4FA7-9FDD-FE1CBB395B77}" dt="2021-03-04T14:21:07.829" v="1273"/>
          <ac:grpSpMkLst>
            <pc:docMk/>
            <pc:sldMk cId="2345068032" sldId="1786"/>
            <ac:grpSpMk id="19" creationId="{402E8295-A509-422E-989C-CB761F02834E}"/>
          </ac:grpSpMkLst>
        </pc:grpChg>
      </pc:sldChg>
      <pc:sldChg chg="delSp mod ord">
        <pc:chgData name="Henry Jammes" userId="5f22554b-fd15-4676-8c82-dc6122af2a80" providerId="ADAL" clId="{97ED4A04-9D38-4FA7-9FDD-FE1CBB395B77}" dt="2021-03-04T14:23:07.863" v="1290" actId="478"/>
        <pc:sldMkLst>
          <pc:docMk/>
          <pc:sldMk cId="855631851" sldId="1796"/>
        </pc:sldMkLst>
        <pc:spChg chg="del">
          <ac:chgData name="Henry Jammes" userId="5f22554b-fd15-4676-8c82-dc6122af2a80" providerId="ADAL" clId="{97ED4A04-9D38-4FA7-9FDD-FE1CBB395B77}" dt="2021-03-04T14:23:07.863" v="1290" actId="478"/>
          <ac:spMkLst>
            <pc:docMk/>
            <pc:sldMk cId="855631851" sldId="1796"/>
            <ac:spMk id="3" creationId="{2CD1B60A-5E95-48F6-A87E-DB87694C5698}"/>
          </ac:spMkLst>
        </pc:spChg>
      </pc:sldChg>
      <pc:sldChg chg="delSp mod ord addCm delCm">
        <pc:chgData name="Henry Jammes" userId="5f22554b-fd15-4676-8c82-dc6122af2a80" providerId="ADAL" clId="{97ED4A04-9D38-4FA7-9FDD-FE1CBB395B77}" dt="2021-03-04T14:23:10.023" v="1291" actId="478"/>
        <pc:sldMkLst>
          <pc:docMk/>
          <pc:sldMk cId="2633977528" sldId="1798"/>
        </pc:sldMkLst>
        <pc:spChg chg="del">
          <ac:chgData name="Henry Jammes" userId="5f22554b-fd15-4676-8c82-dc6122af2a80" providerId="ADAL" clId="{97ED4A04-9D38-4FA7-9FDD-FE1CBB395B77}" dt="2021-03-04T14:23:10.023" v="1291" actId="478"/>
          <ac:spMkLst>
            <pc:docMk/>
            <pc:sldMk cId="2633977528" sldId="1798"/>
            <ac:spMk id="3" creationId="{29C7E1F8-CE05-4B04-A6A7-B0E3FFE45F25}"/>
          </ac:spMkLst>
        </pc:spChg>
      </pc:sldChg>
      <pc:sldChg chg="addSp delSp modSp del mod modShow chgLayout modNotesTx">
        <pc:chgData name="Henry Jammes" userId="5f22554b-fd15-4676-8c82-dc6122af2a80" providerId="ADAL" clId="{97ED4A04-9D38-4FA7-9FDD-FE1CBB395B77}" dt="2021-03-03T18:47:24.408" v="976" actId="2696"/>
        <pc:sldMkLst>
          <pc:docMk/>
          <pc:sldMk cId="1355528084" sldId="1809"/>
        </pc:sldMkLst>
        <pc:spChg chg="mod ord">
          <ac:chgData name="Henry Jammes" userId="5f22554b-fd15-4676-8c82-dc6122af2a80" providerId="ADAL" clId="{97ED4A04-9D38-4FA7-9FDD-FE1CBB395B77}" dt="2021-03-03T17:36:35.662" v="661" actId="6264"/>
          <ac:spMkLst>
            <pc:docMk/>
            <pc:sldMk cId="1355528084" sldId="1809"/>
            <ac:spMk id="2" creationId="{45010FE8-BF09-4146-B084-66CB05B66FD9}"/>
          </ac:spMkLst>
        </pc:spChg>
        <pc:spChg chg="add del mod">
          <ac:chgData name="Henry Jammes" userId="5f22554b-fd15-4676-8c82-dc6122af2a80" providerId="ADAL" clId="{97ED4A04-9D38-4FA7-9FDD-FE1CBB395B77}" dt="2021-03-03T17:36:35.662" v="661" actId="6264"/>
          <ac:spMkLst>
            <pc:docMk/>
            <pc:sldMk cId="1355528084" sldId="1809"/>
            <ac:spMk id="4" creationId="{B64B620A-E4A5-4744-AFB3-195988FBA7AE}"/>
          </ac:spMkLst>
        </pc:spChg>
        <pc:spChg chg="mod">
          <ac:chgData name="Henry Jammes" userId="5f22554b-fd15-4676-8c82-dc6122af2a80" providerId="ADAL" clId="{97ED4A04-9D38-4FA7-9FDD-FE1CBB395B77}" dt="2021-03-03T18:38:55.750" v="894" actId="20578"/>
          <ac:spMkLst>
            <pc:docMk/>
            <pc:sldMk cId="1355528084" sldId="1809"/>
            <ac:spMk id="18" creationId="{E25BB912-D68D-430A-9959-5178AF72BEA6}"/>
          </ac:spMkLst>
        </pc:spChg>
      </pc:sldChg>
      <pc:sldChg chg="addSp delSp modSp mod modClrScheme chgLayout">
        <pc:chgData name="Henry Jammes" userId="5f22554b-fd15-4676-8c82-dc6122af2a80" providerId="ADAL" clId="{97ED4A04-9D38-4FA7-9FDD-FE1CBB395B77}" dt="2021-03-03T17:34:24.566" v="539" actId="207"/>
        <pc:sldMkLst>
          <pc:docMk/>
          <pc:sldMk cId="2567493441" sldId="3087"/>
        </pc:sldMkLst>
        <pc:spChg chg="mod ord">
          <ac:chgData name="Henry Jammes" userId="5f22554b-fd15-4676-8c82-dc6122af2a80" providerId="ADAL" clId="{97ED4A04-9D38-4FA7-9FDD-FE1CBB395B77}" dt="2021-03-03T16:20:10.486" v="19" actId="700"/>
          <ac:spMkLst>
            <pc:docMk/>
            <pc:sldMk cId="2567493441" sldId="3087"/>
            <ac:spMk id="2" creationId="{00000000-0000-0000-0000-000000000000}"/>
          </ac:spMkLst>
        </pc:spChg>
        <pc:spChg chg="mod">
          <ac:chgData name="Henry Jammes" userId="5f22554b-fd15-4676-8c82-dc6122af2a80" providerId="ADAL" clId="{97ED4A04-9D38-4FA7-9FDD-FE1CBB395B77}" dt="2021-03-03T17:34:06.120" v="526" actId="1036"/>
          <ac:spMkLst>
            <pc:docMk/>
            <pc:sldMk cId="2567493441" sldId="3087"/>
            <ac:spMk id="4" creationId="{8A2898D3-D143-45BC-8911-CFCA84F2749B}"/>
          </ac:spMkLst>
        </pc:spChg>
        <pc:spChg chg="add del mod ord">
          <ac:chgData name="Henry Jammes" userId="5f22554b-fd15-4676-8c82-dc6122af2a80" providerId="ADAL" clId="{97ED4A04-9D38-4FA7-9FDD-FE1CBB395B77}" dt="2021-03-03T16:20:10.486" v="19" actId="700"/>
          <ac:spMkLst>
            <pc:docMk/>
            <pc:sldMk cId="2567493441" sldId="3087"/>
            <ac:spMk id="7" creationId="{C9F0896B-6964-4A49-8C25-23C34A0E1DAD}"/>
          </ac:spMkLst>
        </pc:spChg>
        <pc:spChg chg="add del mod ord">
          <ac:chgData name="Henry Jammes" userId="5f22554b-fd15-4676-8c82-dc6122af2a80" providerId="ADAL" clId="{97ED4A04-9D38-4FA7-9FDD-FE1CBB395B77}" dt="2021-03-03T16:20:10.486" v="19" actId="700"/>
          <ac:spMkLst>
            <pc:docMk/>
            <pc:sldMk cId="2567493441" sldId="3087"/>
            <ac:spMk id="8" creationId="{4F80B5C8-DA22-41D2-80A3-1058A866E19C}"/>
          </ac:spMkLst>
        </pc:spChg>
        <pc:spChg chg="add del mod">
          <ac:chgData name="Henry Jammes" userId="5f22554b-fd15-4676-8c82-dc6122af2a80" providerId="ADAL" clId="{97ED4A04-9D38-4FA7-9FDD-FE1CBB395B77}" dt="2021-03-03T16:20:09.786" v="18" actId="6264"/>
          <ac:spMkLst>
            <pc:docMk/>
            <pc:sldMk cId="2567493441" sldId="3087"/>
            <ac:spMk id="9" creationId="{5F8AAB52-0A67-48A7-A11E-5B420A118962}"/>
          </ac:spMkLst>
        </pc:spChg>
        <pc:spChg chg="mod">
          <ac:chgData name="Henry Jammes" userId="5f22554b-fd15-4676-8c82-dc6122af2a80" providerId="ADAL" clId="{97ED4A04-9D38-4FA7-9FDD-FE1CBB395B77}" dt="2021-03-03T17:34:06.120" v="526" actId="1036"/>
          <ac:spMkLst>
            <pc:docMk/>
            <pc:sldMk cId="2567493441" sldId="3087"/>
            <ac:spMk id="10" creationId="{54CD0802-B932-40FF-9D58-0058712AAD31}"/>
          </ac:spMkLst>
        </pc:spChg>
        <pc:spChg chg="mod">
          <ac:chgData name="Henry Jammes" userId="5f22554b-fd15-4676-8c82-dc6122af2a80" providerId="ADAL" clId="{97ED4A04-9D38-4FA7-9FDD-FE1CBB395B77}" dt="2021-03-03T17:34:06.120" v="526" actId="1036"/>
          <ac:spMkLst>
            <pc:docMk/>
            <pc:sldMk cId="2567493441" sldId="3087"/>
            <ac:spMk id="11" creationId="{1B84A075-8044-47EC-A92F-1D4A209E393E}"/>
          </ac:spMkLst>
        </pc:spChg>
        <pc:spChg chg="mod">
          <ac:chgData name="Henry Jammes" userId="5f22554b-fd15-4676-8c82-dc6122af2a80" providerId="ADAL" clId="{97ED4A04-9D38-4FA7-9FDD-FE1CBB395B77}" dt="2021-03-03T17:34:06.120" v="526" actId="1036"/>
          <ac:spMkLst>
            <pc:docMk/>
            <pc:sldMk cId="2567493441" sldId="3087"/>
            <ac:spMk id="12" creationId="{0C040E89-E4CA-4171-90DC-ACB6421550B6}"/>
          </ac:spMkLst>
        </pc:spChg>
        <pc:spChg chg="mod">
          <ac:chgData name="Henry Jammes" userId="5f22554b-fd15-4676-8c82-dc6122af2a80" providerId="ADAL" clId="{97ED4A04-9D38-4FA7-9FDD-FE1CBB395B77}" dt="2021-03-03T17:34:06.120" v="526" actId="1036"/>
          <ac:spMkLst>
            <pc:docMk/>
            <pc:sldMk cId="2567493441" sldId="3087"/>
            <ac:spMk id="13" creationId="{DF55EDC2-5401-438D-A6F5-08071D2628F2}"/>
          </ac:spMkLst>
        </pc:spChg>
        <pc:spChg chg="mod">
          <ac:chgData name="Henry Jammes" userId="5f22554b-fd15-4676-8c82-dc6122af2a80" providerId="ADAL" clId="{97ED4A04-9D38-4FA7-9FDD-FE1CBB395B77}" dt="2021-03-03T17:34:06.120" v="526" actId="1036"/>
          <ac:spMkLst>
            <pc:docMk/>
            <pc:sldMk cId="2567493441" sldId="3087"/>
            <ac:spMk id="14" creationId="{37575196-25AE-42C2-A5B1-7F6C4F348016}"/>
          </ac:spMkLst>
        </pc:spChg>
        <pc:spChg chg="mod">
          <ac:chgData name="Henry Jammes" userId="5f22554b-fd15-4676-8c82-dc6122af2a80" providerId="ADAL" clId="{97ED4A04-9D38-4FA7-9FDD-FE1CBB395B77}" dt="2021-03-03T17:34:06.120" v="526" actId="1036"/>
          <ac:spMkLst>
            <pc:docMk/>
            <pc:sldMk cId="2567493441" sldId="3087"/>
            <ac:spMk id="15" creationId="{8B788170-FA75-4EF9-B4A8-4BC93CC9CDEA}"/>
          </ac:spMkLst>
        </pc:spChg>
        <pc:spChg chg="mod">
          <ac:chgData name="Henry Jammes" userId="5f22554b-fd15-4676-8c82-dc6122af2a80" providerId="ADAL" clId="{97ED4A04-9D38-4FA7-9FDD-FE1CBB395B77}" dt="2021-03-03T17:34:06.120" v="526" actId="1036"/>
          <ac:spMkLst>
            <pc:docMk/>
            <pc:sldMk cId="2567493441" sldId="3087"/>
            <ac:spMk id="19" creationId="{86EEF643-7D0B-4E1A-B09B-36E89847D64E}"/>
          </ac:spMkLst>
        </pc:spChg>
        <pc:spChg chg="add del mod ord">
          <ac:chgData name="Henry Jammes" userId="5f22554b-fd15-4676-8c82-dc6122af2a80" providerId="ADAL" clId="{97ED4A04-9D38-4FA7-9FDD-FE1CBB395B77}" dt="2021-03-03T16:20:09.786" v="18" actId="6264"/>
          <ac:spMkLst>
            <pc:docMk/>
            <pc:sldMk cId="2567493441" sldId="3087"/>
            <ac:spMk id="20" creationId="{B507ECEE-373E-49C3-9291-F96B766B287A}"/>
          </ac:spMkLst>
        </pc:spChg>
        <pc:spChg chg="add del mod">
          <ac:chgData name="Henry Jammes" userId="5f22554b-fd15-4676-8c82-dc6122af2a80" providerId="ADAL" clId="{97ED4A04-9D38-4FA7-9FDD-FE1CBB395B77}" dt="2021-03-03T17:34:24.566" v="539" actId="207"/>
          <ac:spMkLst>
            <pc:docMk/>
            <pc:sldMk cId="2567493441" sldId="3087"/>
            <ac:spMk id="21" creationId="{15247862-C2AD-40E7-960A-592F6E2A2B27}"/>
          </ac:spMkLst>
        </pc:spChg>
        <pc:spChg chg="add del mod ord">
          <ac:chgData name="Henry Jammes" userId="5f22554b-fd15-4676-8c82-dc6122af2a80" providerId="ADAL" clId="{97ED4A04-9D38-4FA7-9FDD-FE1CBB395B77}" dt="2021-03-03T16:20:09.786" v="18" actId="6264"/>
          <ac:spMkLst>
            <pc:docMk/>
            <pc:sldMk cId="2567493441" sldId="3087"/>
            <ac:spMk id="22" creationId="{8049D126-6083-47C5-9C79-5BD47447D7B4}"/>
          </ac:spMkLst>
        </pc:spChg>
        <pc:spChg chg="add del mod">
          <ac:chgData name="Henry Jammes" userId="5f22554b-fd15-4676-8c82-dc6122af2a80" providerId="ADAL" clId="{97ED4A04-9D38-4FA7-9FDD-FE1CBB395B77}" dt="2021-03-03T16:20:06.132" v="13" actId="6264"/>
          <ac:spMkLst>
            <pc:docMk/>
            <pc:sldMk cId="2567493441" sldId="3087"/>
            <ac:spMk id="23" creationId="{D50F8986-3182-4673-A934-77067EC12D93}"/>
          </ac:spMkLst>
        </pc:spChg>
        <pc:spChg chg="add del mod">
          <ac:chgData name="Henry Jammes" userId="5f22554b-fd15-4676-8c82-dc6122af2a80" providerId="ADAL" clId="{97ED4A04-9D38-4FA7-9FDD-FE1CBB395B77}" dt="2021-03-03T16:20:06.132" v="13" actId="6264"/>
          <ac:spMkLst>
            <pc:docMk/>
            <pc:sldMk cId="2567493441" sldId="3087"/>
            <ac:spMk id="24" creationId="{D1AB91D4-7431-4CE7-B987-2EFDB9E35F10}"/>
          </ac:spMkLst>
        </pc:spChg>
        <pc:spChg chg="add del mod ord">
          <ac:chgData name="Henry Jammes" userId="5f22554b-fd15-4676-8c82-dc6122af2a80" providerId="ADAL" clId="{97ED4A04-9D38-4FA7-9FDD-FE1CBB395B77}" dt="2021-03-03T16:20:06.132" v="13" actId="6264"/>
          <ac:spMkLst>
            <pc:docMk/>
            <pc:sldMk cId="2567493441" sldId="3087"/>
            <ac:spMk id="25" creationId="{F87670E7-C92D-44F1-BC8D-101FE8A33B9C}"/>
          </ac:spMkLst>
        </pc:spChg>
        <pc:spChg chg="add del mod">
          <ac:chgData name="Henry Jammes" userId="5f22554b-fd15-4676-8c82-dc6122af2a80" providerId="ADAL" clId="{97ED4A04-9D38-4FA7-9FDD-FE1CBB395B77}" dt="2021-03-03T16:20:05.807" v="12" actId="6264"/>
          <ac:spMkLst>
            <pc:docMk/>
            <pc:sldMk cId="2567493441" sldId="3087"/>
            <ac:spMk id="26" creationId="{D2EFAD02-7144-4596-80E6-21389E41B1F8}"/>
          </ac:spMkLst>
        </pc:spChg>
        <pc:spChg chg="add del mod">
          <ac:chgData name="Henry Jammes" userId="5f22554b-fd15-4676-8c82-dc6122af2a80" providerId="ADAL" clId="{97ED4A04-9D38-4FA7-9FDD-FE1CBB395B77}" dt="2021-03-03T16:20:05.807" v="12" actId="6264"/>
          <ac:spMkLst>
            <pc:docMk/>
            <pc:sldMk cId="2567493441" sldId="3087"/>
            <ac:spMk id="27" creationId="{C8209D9C-856A-4704-8AF8-2E09357B4465}"/>
          </ac:spMkLst>
        </pc:spChg>
        <pc:spChg chg="add del mod ord">
          <ac:chgData name="Henry Jammes" userId="5f22554b-fd15-4676-8c82-dc6122af2a80" providerId="ADAL" clId="{97ED4A04-9D38-4FA7-9FDD-FE1CBB395B77}" dt="2021-03-03T16:20:05.807" v="12" actId="6264"/>
          <ac:spMkLst>
            <pc:docMk/>
            <pc:sldMk cId="2567493441" sldId="3087"/>
            <ac:spMk id="28" creationId="{E6556C0C-545E-424C-B2EC-82C53E50B66C}"/>
          </ac:spMkLst>
        </pc:spChg>
        <pc:spChg chg="mod">
          <ac:chgData name="Henry Jammes" userId="5f22554b-fd15-4676-8c82-dc6122af2a80" providerId="ADAL" clId="{97ED4A04-9D38-4FA7-9FDD-FE1CBB395B77}" dt="2021-03-03T17:33:51.418" v="512" actId="1035"/>
          <ac:spMkLst>
            <pc:docMk/>
            <pc:sldMk cId="2567493441" sldId="3087"/>
            <ac:spMk id="51" creationId="{45E8027B-C103-4522-8B97-572E1A99FAF9}"/>
          </ac:spMkLst>
        </pc:spChg>
        <pc:spChg chg="mod">
          <ac:chgData name="Henry Jammes" userId="5f22554b-fd15-4676-8c82-dc6122af2a80" providerId="ADAL" clId="{97ED4A04-9D38-4FA7-9FDD-FE1CBB395B77}" dt="2021-03-03T17:34:06.120" v="526" actId="1036"/>
          <ac:spMkLst>
            <pc:docMk/>
            <pc:sldMk cId="2567493441" sldId="3087"/>
            <ac:spMk id="52" creationId="{66D22106-37EB-4F14-A05E-8100125726E7}"/>
          </ac:spMkLst>
        </pc:spChg>
        <pc:spChg chg="mod">
          <ac:chgData name="Henry Jammes" userId="5f22554b-fd15-4676-8c82-dc6122af2a80" providerId="ADAL" clId="{97ED4A04-9D38-4FA7-9FDD-FE1CBB395B77}" dt="2021-03-03T17:34:06.120" v="526" actId="1036"/>
          <ac:spMkLst>
            <pc:docMk/>
            <pc:sldMk cId="2567493441" sldId="3087"/>
            <ac:spMk id="53" creationId="{319C0DD1-70F5-4A9E-8D10-39FA7EC07DAF}"/>
          </ac:spMkLst>
        </pc:spChg>
        <pc:spChg chg="mod">
          <ac:chgData name="Henry Jammes" userId="5f22554b-fd15-4676-8c82-dc6122af2a80" providerId="ADAL" clId="{97ED4A04-9D38-4FA7-9FDD-FE1CBB395B77}" dt="2021-03-03T17:34:06.120" v="526" actId="1036"/>
          <ac:spMkLst>
            <pc:docMk/>
            <pc:sldMk cId="2567493441" sldId="3087"/>
            <ac:spMk id="61" creationId="{8958E916-F0A4-476B-BF89-FFAACBECE388}"/>
          </ac:spMkLst>
        </pc:spChg>
        <pc:spChg chg="mod">
          <ac:chgData name="Henry Jammes" userId="5f22554b-fd15-4676-8c82-dc6122af2a80" providerId="ADAL" clId="{97ED4A04-9D38-4FA7-9FDD-FE1CBB395B77}" dt="2021-03-03T17:34:06.120" v="526" actId="1036"/>
          <ac:spMkLst>
            <pc:docMk/>
            <pc:sldMk cId="2567493441" sldId="3087"/>
            <ac:spMk id="63" creationId="{3FA3E279-7720-455A-81CE-B4F00DB1DE49}"/>
          </ac:spMkLst>
        </pc:spChg>
        <pc:spChg chg="mod">
          <ac:chgData name="Henry Jammes" userId="5f22554b-fd15-4676-8c82-dc6122af2a80" providerId="ADAL" clId="{97ED4A04-9D38-4FA7-9FDD-FE1CBB395B77}" dt="2021-03-03T17:34:06.120" v="526" actId="1036"/>
          <ac:spMkLst>
            <pc:docMk/>
            <pc:sldMk cId="2567493441" sldId="3087"/>
            <ac:spMk id="64" creationId="{4A8373E1-7AF6-41AA-A8EB-CC0E25A87A26}"/>
          </ac:spMkLst>
        </pc:spChg>
        <pc:spChg chg="mod">
          <ac:chgData name="Henry Jammes" userId="5f22554b-fd15-4676-8c82-dc6122af2a80" providerId="ADAL" clId="{97ED4A04-9D38-4FA7-9FDD-FE1CBB395B77}" dt="2021-03-03T17:34:06.120" v="526" actId="1036"/>
          <ac:spMkLst>
            <pc:docMk/>
            <pc:sldMk cId="2567493441" sldId="3087"/>
            <ac:spMk id="68" creationId="{FDF78BC7-6AF6-4C1A-B07C-3D7A13CE3BE1}"/>
          </ac:spMkLst>
        </pc:spChg>
        <pc:spChg chg="mod">
          <ac:chgData name="Henry Jammes" userId="5f22554b-fd15-4676-8c82-dc6122af2a80" providerId="ADAL" clId="{97ED4A04-9D38-4FA7-9FDD-FE1CBB395B77}" dt="2021-03-03T17:34:06.120" v="526" actId="1036"/>
          <ac:spMkLst>
            <pc:docMk/>
            <pc:sldMk cId="2567493441" sldId="3087"/>
            <ac:spMk id="69" creationId="{ED526EE6-2DB8-49F8-9AC0-FCF85E6048A1}"/>
          </ac:spMkLst>
        </pc:spChg>
        <pc:spChg chg="mod">
          <ac:chgData name="Henry Jammes" userId="5f22554b-fd15-4676-8c82-dc6122af2a80" providerId="ADAL" clId="{97ED4A04-9D38-4FA7-9FDD-FE1CBB395B77}" dt="2021-03-03T17:34:06.120" v="526" actId="1036"/>
          <ac:spMkLst>
            <pc:docMk/>
            <pc:sldMk cId="2567493441" sldId="3087"/>
            <ac:spMk id="71" creationId="{F4BFE7F4-B69B-4AE7-860E-CA9120103C3A}"/>
          </ac:spMkLst>
        </pc:spChg>
        <pc:spChg chg="mod">
          <ac:chgData name="Henry Jammes" userId="5f22554b-fd15-4676-8c82-dc6122af2a80" providerId="ADAL" clId="{97ED4A04-9D38-4FA7-9FDD-FE1CBB395B77}" dt="2021-03-03T17:34:06.120" v="526" actId="1036"/>
          <ac:spMkLst>
            <pc:docMk/>
            <pc:sldMk cId="2567493441" sldId="3087"/>
            <ac:spMk id="72" creationId="{C37AE835-8F65-404B-BD7F-FEAB6D178740}"/>
          </ac:spMkLst>
        </pc:spChg>
        <pc:spChg chg="mod">
          <ac:chgData name="Henry Jammes" userId="5f22554b-fd15-4676-8c82-dc6122af2a80" providerId="ADAL" clId="{97ED4A04-9D38-4FA7-9FDD-FE1CBB395B77}" dt="2021-03-03T17:34:06.120" v="526" actId="1036"/>
          <ac:spMkLst>
            <pc:docMk/>
            <pc:sldMk cId="2567493441" sldId="3087"/>
            <ac:spMk id="75" creationId="{E1AC9BB9-EEDE-4DA1-B1AE-61F87D31B4BF}"/>
          </ac:spMkLst>
        </pc:spChg>
        <pc:spChg chg="mod">
          <ac:chgData name="Henry Jammes" userId="5f22554b-fd15-4676-8c82-dc6122af2a80" providerId="ADAL" clId="{97ED4A04-9D38-4FA7-9FDD-FE1CBB395B77}" dt="2021-03-03T17:34:06.120" v="526" actId="1036"/>
          <ac:spMkLst>
            <pc:docMk/>
            <pc:sldMk cId="2567493441" sldId="3087"/>
            <ac:spMk id="85" creationId="{D33E0761-F102-47D8-8E08-F5D0927A9A56}"/>
          </ac:spMkLst>
        </pc:spChg>
        <pc:spChg chg="mod">
          <ac:chgData name="Henry Jammes" userId="5f22554b-fd15-4676-8c82-dc6122af2a80" providerId="ADAL" clId="{97ED4A04-9D38-4FA7-9FDD-FE1CBB395B77}" dt="2021-03-03T17:34:06.120" v="526" actId="1036"/>
          <ac:spMkLst>
            <pc:docMk/>
            <pc:sldMk cId="2567493441" sldId="3087"/>
            <ac:spMk id="87" creationId="{AD2CB0F0-7CB4-44A3-9CD8-37CFF6BFE636}"/>
          </ac:spMkLst>
        </pc:spChg>
        <pc:spChg chg="mod">
          <ac:chgData name="Henry Jammes" userId="5f22554b-fd15-4676-8c82-dc6122af2a80" providerId="ADAL" clId="{97ED4A04-9D38-4FA7-9FDD-FE1CBB395B77}" dt="2021-03-03T17:34:06.120" v="526" actId="1036"/>
          <ac:spMkLst>
            <pc:docMk/>
            <pc:sldMk cId="2567493441" sldId="3087"/>
            <ac:spMk id="93" creationId="{7FB5EA02-0569-4B17-A102-63C420934535}"/>
          </ac:spMkLst>
        </pc:spChg>
        <pc:spChg chg="mod">
          <ac:chgData name="Henry Jammes" userId="5f22554b-fd15-4676-8c82-dc6122af2a80" providerId="ADAL" clId="{97ED4A04-9D38-4FA7-9FDD-FE1CBB395B77}" dt="2021-03-03T17:34:06.120" v="526" actId="1036"/>
          <ac:spMkLst>
            <pc:docMk/>
            <pc:sldMk cId="2567493441" sldId="3087"/>
            <ac:spMk id="100" creationId="{DC845E3A-D25F-470B-A7AB-7A6D6BA35B22}"/>
          </ac:spMkLst>
        </pc:spChg>
        <pc:spChg chg="mod">
          <ac:chgData name="Henry Jammes" userId="5f22554b-fd15-4676-8c82-dc6122af2a80" providerId="ADAL" clId="{97ED4A04-9D38-4FA7-9FDD-FE1CBB395B77}" dt="2021-03-03T17:34:06.120" v="526" actId="1036"/>
          <ac:spMkLst>
            <pc:docMk/>
            <pc:sldMk cId="2567493441" sldId="3087"/>
            <ac:spMk id="101" creationId="{6D602A2F-7B58-42B6-A515-9D7452B0B02F}"/>
          </ac:spMkLst>
        </pc:spChg>
        <pc:spChg chg="mod">
          <ac:chgData name="Henry Jammes" userId="5f22554b-fd15-4676-8c82-dc6122af2a80" providerId="ADAL" clId="{97ED4A04-9D38-4FA7-9FDD-FE1CBB395B77}" dt="2021-03-03T17:34:06.120" v="526" actId="1036"/>
          <ac:spMkLst>
            <pc:docMk/>
            <pc:sldMk cId="2567493441" sldId="3087"/>
            <ac:spMk id="106" creationId="{AC7B08C0-309B-4E31-9522-AAE3B57E7109}"/>
          </ac:spMkLst>
        </pc:spChg>
        <pc:spChg chg="mod">
          <ac:chgData name="Henry Jammes" userId="5f22554b-fd15-4676-8c82-dc6122af2a80" providerId="ADAL" clId="{97ED4A04-9D38-4FA7-9FDD-FE1CBB395B77}" dt="2021-03-03T17:34:06.120" v="526" actId="1036"/>
          <ac:spMkLst>
            <pc:docMk/>
            <pc:sldMk cId="2567493441" sldId="3087"/>
            <ac:spMk id="112" creationId="{B5404789-7E08-4B5D-9800-A1057A86C8F6}"/>
          </ac:spMkLst>
        </pc:spChg>
        <pc:spChg chg="mod">
          <ac:chgData name="Henry Jammes" userId="5f22554b-fd15-4676-8c82-dc6122af2a80" providerId="ADAL" clId="{97ED4A04-9D38-4FA7-9FDD-FE1CBB395B77}" dt="2021-03-03T17:34:06.120" v="526" actId="1036"/>
          <ac:spMkLst>
            <pc:docMk/>
            <pc:sldMk cId="2567493441" sldId="3087"/>
            <ac:spMk id="113" creationId="{889D21FB-8BCC-4741-9AFF-52D79A343816}"/>
          </ac:spMkLst>
        </pc:spChg>
        <pc:spChg chg="mod">
          <ac:chgData name="Henry Jammes" userId="5f22554b-fd15-4676-8c82-dc6122af2a80" providerId="ADAL" clId="{97ED4A04-9D38-4FA7-9FDD-FE1CBB395B77}" dt="2021-03-03T17:34:06.120" v="526" actId="1036"/>
          <ac:spMkLst>
            <pc:docMk/>
            <pc:sldMk cId="2567493441" sldId="3087"/>
            <ac:spMk id="114" creationId="{D185724B-90BE-4AEA-8B66-35F1D501CF07}"/>
          </ac:spMkLst>
        </pc:spChg>
        <pc:spChg chg="mod">
          <ac:chgData name="Henry Jammes" userId="5f22554b-fd15-4676-8c82-dc6122af2a80" providerId="ADAL" clId="{97ED4A04-9D38-4FA7-9FDD-FE1CBB395B77}" dt="2021-03-03T17:34:06.120" v="526" actId="1036"/>
          <ac:spMkLst>
            <pc:docMk/>
            <pc:sldMk cId="2567493441" sldId="3087"/>
            <ac:spMk id="129" creationId="{F9EC5390-57A9-4D1F-8F14-754886EBDA43}"/>
          </ac:spMkLst>
        </pc:spChg>
        <pc:spChg chg="mod">
          <ac:chgData name="Henry Jammes" userId="5f22554b-fd15-4676-8c82-dc6122af2a80" providerId="ADAL" clId="{97ED4A04-9D38-4FA7-9FDD-FE1CBB395B77}" dt="2021-03-03T17:34:06.120" v="526" actId="1036"/>
          <ac:spMkLst>
            <pc:docMk/>
            <pc:sldMk cId="2567493441" sldId="3087"/>
            <ac:spMk id="130" creationId="{7F240053-51A9-4B5D-B7E4-BEDDDA226B26}"/>
          </ac:spMkLst>
        </pc:spChg>
        <pc:spChg chg="mod">
          <ac:chgData name="Henry Jammes" userId="5f22554b-fd15-4676-8c82-dc6122af2a80" providerId="ADAL" clId="{97ED4A04-9D38-4FA7-9FDD-FE1CBB395B77}" dt="2021-03-03T17:34:06.120" v="526" actId="1036"/>
          <ac:spMkLst>
            <pc:docMk/>
            <pc:sldMk cId="2567493441" sldId="3087"/>
            <ac:spMk id="137" creationId="{83B5B691-A172-46FF-B04B-08C63F01AC35}"/>
          </ac:spMkLst>
        </pc:spChg>
        <pc:spChg chg="mod">
          <ac:chgData name="Henry Jammes" userId="5f22554b-fd15-4676-8c82-dc6122af2a80" providerId="ADAL" clId="{97ED4A04-9D38-4FA7-9FDD-FE1CBB395B77}" dt="2021-03-03T17:34:06.120" v="526" actId="1036"/>
          <ac:spMkLst>
            <pc:docMk/>
            <pc:sldMk cId="2567493441" sldId="3087"/>
            <ac:spMk id="139" creationId="{D344B84B-1C86-48BE-B4CF-00FF96A28A73}"/>
          </ac:spMkLst>
        </pc:spChg>
        <pc:spChg chg="mod">
          <ac:chgData name="Henry Jammes" userId="5f22554b-fd15-4676-8c82-dc6122af2a80" providerId="ADAL" clId="{97ED4A04-9D38-4FA7-9FDD-FE1CBB395B77}" dt="2021-03-03T17:34:06.120" v="526" actId="1036"/>
          <ac:spMkLst>
            <pc:docMk/>
            <pc:sldMk cId="2567493441" sldId="3087"/>
            <ac:spMk id="140" creationId="{687441F1-26E8-4301-A143-819A6CB0DEE9}"/>
          </ac:spMkLst>
        </pc:spChg>
        <pc:spChg chg="mod">
          <ac:chgData name="Henry Jammes" userId="5f22554b-fd15-4676-8c82-dc6122af2a80" providerId="ADAL" clId="{97ED4A04-9D38-4FA7-9FDD-FE1CBB395B77}" dt="2021-03-03T17:34:06.120" v="526" actId="1036"/>
          <ac:spMkLst>
            <pc:docMk/>
            <pc:sldMk cId="2567493441" sldId="3087"/>
            <ac:spMk id="141" creationId="{8A6F87F5-EC2F-48A4-8745-5F74CF37A33A}"/>
          </ac:spMkLst>
        </pc:spChg>
        <pc:spChg chg="mod">
          <ac:chgData name="Henry Jammes" userId="5f22554b-fd15-4676-8c82-dc6122af2a80" providerId="ADAL" clId="{97ED4A04-9D38-4FA7-9FDD-FE1CBB395B77}" dt="2021-03-03T17:34:06.120" v="526" actId="1036"/>
          <ac:spMkLst>
            <pc:docMk/>
            <pc:sldMk cId="2567493441" sldId="3087"/>
            <ac:spMk id="142" creationId="{BF3D1771-BD53-40ED-B384-7C24B85ED477}"/>
          </ac:spMkLst>
        </pc:spChg>
        <pc:spChg chg="mod">
          <ac:chgData name="Henry Jammes" userId="5f22554b-fd15-4676-8c82-dc6122af2a80" providerId="ADAL" clId="{97ED4A04-9D38-4FA7-9FDD-FE1CBB395B77}" dt="2021-03-03T17:34:06.120" v="526" actId="1036"/>
          <ac:spMkLst>
            <pc:docMk/>
            <pc:sldMk cId="2567493441" sldId="3087"/>
            <ac:spMk id="143" creationId="{607BFB50-025B-4ED5-8D89-E93C57F026C0}"/>
          </ac:spMkLst>
        </pc:spChg>
        <pc:spChg chg="mod">
          <ac:chgData name="Henry Jammes" userId="5f22554b-fd15-4676-8c82-dc6122af2a80" providerId="ADAL" clId="{97ED4A04-9D38-4FA7-9FDD-FE1CBB395B77}" dt="2021-03-03T17:34:06.120" v="526" actId="1036"/>
          <ac:spMkLst>
            <pc:docMk/>
            <pc:sldMk cId="2567493441" sldId="3087"/>
            <ac:spMk id="145" creationId="{4148AD17-2C83-4C7B-8A22-FE43EC4A8D03}"/>
          </ac:spMkLst>
        </pc:spChg>
        <pc:spChg chg="mod">
          <ac:chgData name="Henry Jammes" userId="5f22554b-fd15-4676-8c82-dc6122af2a80" providerId="ADAL" clId="{97ED4A04-9D38-4FA7-9FDD-FE1CBB395B77}" dt="2021-03-03T17:34:06.120" v="526" actId="1036"/>
          <ac:spMkLst>
            <pc:docMk/>
            <pc:sldMk cId="2567493441" sldId="3087"/>
            <ac:spMk id="146" creationId="{3CCCFCDC-9ED3-4409-9D85-9D5412C90E32}"/>
          </ac:spMkLst>
        </pc:spChg>
        <pc:spChg chg="mod">
          <ac:chgData name="Henry Jammes" userId="5f22554b-fd15-4676-8c82-dc6122af2a80" providerId="ADAL" clId="{97ED4A04-9D38-4FA7-9FDD-FE1CBB395B77}" dt="2021-03-03T17:34:06.120" v="526" actId="1036"/>
          <ac:spMkLst>
            <pc:docMk/>
            <pc:sldMk cId="2567493441" sldId="3087"/>
            <ac:spMk id="147" creationId="{A6F6003B-5C76-44B4-B306-C9A9885F8EF7}"/>
          </ac:spMkLst>
        </pc:spChg>
        <pc:spChg chg="mod">
          <ac:chgData name="Henry Jammes" userId="5f22554b-fd15-4676-8c82-dc6122af2a80" providerId="ADAL" clId="{97ED4A04-9D38-4FA7-9FDD-FE1CBB395B77}" dt="2021-03-03T17:34:06.120" v="526" actId="1036"/>
          <ac:spMkLst>
            <pc:docMk/>
            <pc:sldMk cId="2567493441" sldId="3087"/>
            <ac:spMk id="148" creationId="{4A4A4023-ED49-4217-BFB9-514090B98547}"/>
          </ac:spMkLst>
        </pc:spChg>
        <pc:spChg chg="mod">
          <ac:chgData name="Henry Jammes" userId="5f22554b-fd15-4676-8c82-dc6122af2a80" providerId="ADAL" clId="{97ED4A04-9D38-4FA7-9FDD-FE1CBB395B77}" dt="2021-03-03T17:34:06.120" v="526" actId="1036"/>
          <ac:spMkLst>
            <pc:docMk/>
            <pc:sldMk cId="2567493441" sldId="3087"/>
            <ac:spMk id="149" creationId="{35784B0D-8A86-49D4-9734-4B2E3269094A}"/>
          </ac:spMkLst>
        </pc:spChg>
        <pc:spChg chg="mod">
          <ac:chgData name="Henry Jammes" userId="5f22554b-fd15-4676-8c82-dc6122af2a80" providerId="ADAL" clId="{97ED4A04-9D38-4FA7-9FDD-FE1CBB395B77}" dt="2021-03-03T17:34:06.120" v="526" actId="1036"/>
          <ac:spMkLst>
            <pc:docMk/>
            <pc:sldMk cId="2567493441" sldId="3087"/>
            <ac:spMk id="150" creationId="{80DD81A2-17B1-4E7D-A406-4CA00F955C5F}"/>
          </ac:spMkLst>
        </pc:spChg>
        <pc:spChg chg="mod">
          <ac:chgData name="Henry Jammes" userId="5f22554b-fd15-4676-8c82-dc6122af2a80" providerId="ADAL" clId="{97ED4A04-9D38-4FA7-9FDD-FE1CBB395B77}" dt="2021-03-03T17:34:06.120" v="526" actId="1036"/>
          <ac:spMkLst>
            <pc:docMk/>
            <pc:sldMk cId="2567493441" sldId="3087"/>
            <ac:spMk id="151" creationId="{5A4F3173-03CF-42BF-B672-876A09FDD555}"/>
          </ac:spMkLst>
        </pc:spChg>
        <pc:spChg chg="mod">
          <ac:chgData name="Henry Jammes" userId="5f22554b-fd15-4676-8c82-dc6122af2a80" providerId="ADAL" clId="{97ED4A04-9D38-4FA7-9FDD-FE1CBB395B77}" dt="2021-03-03T17:34:06.120" v="526" actId="1036"/>
          <ac:spMkLst>
            <pc:docMk/>
            <pc:sldMk cId="2567493441" sldId="3087"/>
            <ac:spMk id="152" creationId="{6609ED8A-8249-48BE-8028-8D58B99093D3}"/>
          </ac:spMkLst>
        </pc:spChg>
        <pc:spChg chg="mod">
          <ac:chgData name="Henry Jammes" userId="5f22554b-fd15-4676-8c82-dc6122af2a80" providerId="ADAL" clId="{97ED4A04-9D38-4FA7-9FDD-FE1CBB395B77}" dt="2021-03-03T17:34:06.120" v="526" actId="1036"/>
          <ac:spMkLst>
            <pc:docMk/>
            <pc:sldMk cId="2567493441" sldId="3087"/>
            <ac:spMk id="153" creationId="{A3665710-34CE-45DB-AC20-4E91210725C2}"/>
          </ac:spMkLst>
        </pc:spChg>
        <pc:spChg chg="mod">
          <ac:chgData name="Henry Jammes" userId="5f22554b-fd15-4676-8c82-dc6122af2a80" providerId="ADAL" clId="{97ED4A04-9D38-4FA7-9FDD-FE1CBB395B77}" dt="2021-03-03T17:34:06.120" v="526" actId="1036"/>
          <ac:spMkLst>
            <pc:docMk/>
            <pc:sldMk cId="2567493441" sldId="3087"/>
            <ac:spMk id="154" creationId="{266F88A0-8827-421D-9C60-2DDA4DE35ECC}"/>
          </ac:spMkLst>
        </pc:spChg>
        <pc:grpChg chg="mod">
          <ac:chgData name="Henry Jammes" userId="5f22554b-fd15-4676-8c82-dc6122af2a80" providerId="ADAL" clId="{97ED4A04-9D38-4FA7-9FDD-FE1CBB395B77}" dt="2021-03-03T17:34:06.120" v="526" actId="1036"/>
          <ac:grpSpMkLst>
            <pc:docMk/>
            <pc:sldMk cId="2567493441" sldId="3087"/>
            <ac:grpSpMk id="3" creationId="{65A60699-AF40-4C95-89AA-365867D09A84}"/>
          </ac:grpSpMkLst>
        </pc:grpChg>
        <pc:grpChg chg="mod">
          <ac:chgData name="Henry Jammes" userId="5f22554b-fd15-4676-8c82-dc6122af2a80" providerId="ADAL" clId="{97ED4A04-9D38-4FA7-9FDD-FE1CBB395B77}" dt="2021-03-03T17:34:06.120" v="526" actId="1036"/>
          <ac:grpSpMkLst>
            <pc:docMk/>
            <pc:sldMk cId="2567493441" sldId="3087"/>
            <ac:grpSpMk id="5" creationId="{34262F06-2160-47A5-896D-445702066946}"/>
          </ac:grpSpMkLst>
        </pc:grpChg>
        <pc:grpChg chg="mod">
          <ac:chgData name="Henry Jammes" userId="5f22554b-fd15-4676-8c82-dc6122af2a80" providerId="ADAL" clId="{97ED4A04-9D38-4FA7-9FDD-FE1CBB395B77}" dt="2021-03-03T17:34:06.120" v="526" actId="1036"/>
          <ac:grpSpMkLst>
            <pc:docMk/>
            <pc:sldMk cId="2567493441" sldId="3087"/>
            <ac:grpSpMk id="6" creationId="{911A84D5-D13C-4E37-8C45-0A2C78B54FF8}"/>
          </ac:grpSpMkLst>
        </pc:grpChg>
        <pc:grpChg chg="mod">
          <ac:chgData name="Henry Jammes" userId="5f22554b-fd15-4676-8c82-dc6122af2a80" providerId="ADAL" clId="{97ED4A04-9D38-4FA7-9FDD-FE1CBB395B77}" dt="2021-03-03T17:34:06.120" v="526" actId="1036"/>
          <ac:grpSpMkLst>
            <pc:docMk/>
            <pc:sldMk cId="2567493441" sldId="3087"/>
            <ac:grpSpMk id="16" creationId="{4BF9EC1F-B8E5-4D6B-B19D-561669EB04D7}"/>
          </ac:grpSpMkLst>
        </pc:grpChg>
        <pc:grpChg chg="mod">
          <ac:chgData name="Henry Jammes" userId="5f22554b-fd15-4676-8c82-dc6122af2a80" providerId="ADAL" clId="{97ED4A04-9D38-4FA7-9FDD-FE1CBB395B77}" dt="2021-03-03T17:34:06.120" v="526" actId="1036"/>
          <ac:grpSpMkLst>
            <pc:docMk/>
            <pc:sldMk cId="2567493441" sldId="3087"/>
            <ac:grpSpMk id="17" creationId="{7CA9523E-2DB7-484E-8650-7348B904C503}"/>
          </ac:grpSpMkLst>
        </pc:grpChg>
        <pc:grpChg chg="mod">
          <ac:chgData name="Henry Jammes" userId="5f22554b-fd15-4676-8c82-dc6122af2a80" providerId="ADAL" clId="{97ED4A04-9D38-4FA7-9FDD-FE1CBB395B77}" dt="2021-03-03T17:34:06.120" v="526" actId="1036"/>
          <ac:grpSpMkLst>
            <pc:docMk/>
            <pc:sldMk cId="2567493441" sldId="3087"/>
            <ac:grpSpMk id="18" creationId="{D93D151E-1C7E-41D3-B466-850E279D563C}"/>
          </ac:grpSpMkLst>
        </pc:grpChg>
        <pc:grpChg chg="mod">
          <ac:chgData name="Henry Jammes" userId="5f22554b-fd15-4676-8c82-dc6122af2a80" providerId="ADAL" clId="{97ED4A04-9D38-4FA7-9FDD-FE1CBB395B77}" dt="2021-03-03T17:34:06.120" v="526" actId="1036"/>
          <ac:grpSpMkLst>
            <pc:docMk/>
            <pc:sldMk cId="2567493441" sldId="3087"/>
            <ac:grpSpMk id="67" creationId="{294E6E6F-8115-4BAA-A37D-2342C7797B52}"/>
          </ac:grpSpMkLst>
        </pc:grpChg>
        <pc:grpChg chg="mod">
          <ac:chgData name="Henry Jammes" userId="5f22554b-fd15-4676-8c82-dc6122af2a80" providerId="ADAL" clId="{97ED4A04-9D38-4FA7-9FDD-FE1CBB395B77}" dt="2021-03-03T17:34:06.120" v="526" actId="1036"/>
          <ac:grpSpMkLst>
            <pc:docMk/>
            <pc:sldMk cId="2567493441" sldId="3087"/>
            <ac:grpSpMk id="70" creationId="{9E331BFB-6D6B-4A72-8340-B9B745B6DEE9}"/>
          </ac:grpSpMkLst>
        </pc:grpChg>
        <pc:grpChg chg="mod">
          <ac:chgData name="Henry Jammes" userId="5f22554b-fd15-4676-8c82-dc6122af2a80" providerId="ADAL" clId="{97ED4A04-9D38-4FA7-9FDD-FE1CBB395B77}" dt="2021-03-03T17:34:06.120" v="526" actId="1036"/>
          <ac:grpSpMkLst>
            <pc:docMk/>
            <pc:sldMk cId="2567493441" sldId="3087"/>
            <ac:grpSpMk id="128" creationId="{6291253E-F40A-4B02-B9B4-B632A94B9CD6}"/>
          </ac:grpSpMkLst>
        </pc:grpChg>
        <pc:grpChg chg="mod">
          <ac:chgData name="Henry Jammes" userId="5f22554b-fd15-4676-8c82-dc6122af2a80" providerId="ADAL" clId="{97ED4A04-9D38-4FA7-9FDD-FE1CBB395B77}" dt="2021-03-03T17:34:06.120" v="526" actId="1036"/>
          <ac:grpSpMkLst>
            <pc:docMk/>
            <pc:sldMk cId="2567493441" sldId="3087"/>
            <ac:grpSpMk id="138" creationId="{8B3CE1C8-1EE3-4407-9407-502C4150EF09}"/>
          </ac:grpSpMkLst>
        </pc:grpChg>
        <pc:grpChg chg="mod">
          <ac:chgData name="Henry Jammes" userId="5f22554b-fd15-4676-8c82-dc6122af2a80" providerId="ADAL" clId="{97ED4A04-9D38-4FA7-9FDD-FE1CBB395B77}" dt="2021-03-03T17:34:06.120" v="526" actId="1036"/>
          <ac:grpSpMkLst>
            <pc:docMk/>
            <pc:sldMk cId="2567493441" sldId="3087"/>
            <ac:grpSpMk id="144" creationId="{75E6C490-27C5-464E-B9AA-68C06DC5E379}"/>
          </ac:grpSpMkLst>
        </pc:grpChg>
        <pc:cxnChg chg="mod">
          <ac:chgData name="Henry Jammes" userId="5f22554b-fd15-4676-8c82-dc6122af2a80" providerId="ADAL" clId="{97ED4A04-9D38-4FA7-9FDD-FE1CBB395B77}" dt="2021-03-03T17:34:06.120" v="526" actId="1036"/>
          <ac:cxnSpMkLst>
            <pc:docMk/>
            <pc:sldMk cId="2567493441" sldId="3087"/>
            <ac:cxnSpMk id="108" creationId="{940BDD52-E2E4-4BED-B0C7-A59AAC352D97}"/>
          </ac:cxnSpMkLst>
        </pc:cxnChg>
        <pc:cxnChg chg="mod">
          <ac:chgData name="Henry Jammes" userId="5f22554b-fd15-4676-8c82-dc6122af2a80" providerId="ADAL" clId="{97ED4A04-9D38-4FA7-9FDD-FE1CBB395B77}" dt="2021-03-03T17:34:06.120" v="526" actId="1036"/>
          <ac:cxnSpMkLst>
            <pc:docMk/>
            <pc:sldMk cId="2567493441" sldId="3087"/>
            <ac:cxnSpMk id="110" creationId="{5620C0C8-DA0B-4BA3-AC09-84734C8E8B5C}"/>
          </ac:cxnSpMkLst>
        </pc:cxnChg>
      </pc:sldChg>
      <pc:sldChg chg="modSp mod">
        <pc:chgData name="Henry Jammes" userId="5f22554b-fd15-4676-8c82-dc6122af2a80" providerId="ADAL" clId="{97ED4A04-9D38-4FA7-9FDD-FE1CBB395B77}" dt="2021-03-04T16:58:50.866" v="1886" actId="1076"/>
        <pc:sldMkLst>
          <pc:docMk/>
          <pc:sldMk cId="217996950" sldId="3092"/>
        </pc:sldMkLst>
        <pc:spChg chg="mod">
          <ac:chgData name="Henry Jammes" userId="5f22554b-fd15-4676-8c82-dc6122af2a80" providerId="ADAL" clId="{97ED4A04-9D38-4FA7-9FDD-FE1CBB395B77}" dt="2021-03-03T18:29:08.850" v="884" actId="20577"/>
          <ac:spMkLst>
            <pc:docMk/>
            <pc:sldMk cId="217996950" sldId="3092"/>
            <ac:spMk id="5" creationId="{4B7DD339-5C08-46FC-8731-430C31DC143F}"/>
          </ac:spMkLst>
        </pc:spChg>
        <pc:spChg chg="mod">
          <ac:chgData name="Henry Jammes" userId="5f22554b-fd15-4676-8c82-dc6122af2a80" providerId="ADAL" clId="{97ED4A04-9D38-4FA7-9FDD-FE1CBB395B77}" dt="2021-03-04T16:58:50.866" v="1886" actId="1076"/>
          <ac:spMkLst>
            <pc:docMk/>
            <pc:sldMk cId="217996950" sldId="3092"/>
            <ac:spMk id="6" creationId="{3858C028-4AE4-4BBE-94FB-B9D03D7ED23F}"/>
          </ac:spMkLst>
        </pc:spChg>
        <pc:spChg chg="mod">
          <ac:chgData name="Henry Jammes" userId="5f22554b-fd15-4676-8c82-dc6122af2a80" providerId="ADAL" clId="{97ED4A04-9D38-4FA7-9FDD-FE1CBB395B77}" dt="2021-03-04T16:58:50.866" v="1886" actId="1076"/>
          <ac:spMkLst>
            <pc:docMk/>
            <pc:sldMk cId="217996950" sldId="3092"/>
            <ac:spMk id="7" creationId="{11EF1AD8-8B3A-4133-A284-5E7968D490BC}"/>
          </ac:spMkLst>
        </pc:spChg>
      </pc:sldChg>
      <pc:sldChg chg="addSp modSp mod">
        <pc:chgData name="Henry Jammes" userId="5f22554b-fd15-4676-8c82-dc6122af2a80" providerId="ADAL" clId="{97ED4A04-9D38-4FA7-9FDD-FE1CBB395B77}" dt="2021-03-04T16:59:34.950" v="1899" actId="1035"/>
        <pc:sldMkLst>
          <pc:docMk/>
          <pc:sldMk cId="1304563117" sldId="3093"/>
        </pc:sldMkLst>
        <pc:spChg chg="mod">
          <ac:chgData name="Henry Jammes" userId="5f22554b-fd15-4676-8c82-dc6122af2a80" providerId="ADAL" clId="{97ED4A04-9D38-4FA7-9FDD-FE1CBB395B77}" dt="2021-03-03T18:28:41.227" v="876" actId="1035"/>
          <ac:spMkLst>
            <pc:docMk/>
            <pc:sldMk cId="1304563117" sldId="3093"/>
            <ac:spMk id="2" creationId="{98ED09A5-A38C-4A4E-B308-A11A4BF5F4B8}"/>
          </ac:spMkLst>
        </pc:spChg>
        <pc:spChg chg="mod">
          <ac:chgData name="Henry Jammes" userId="5f22554b-fd15-4676-8c82-dc6122af2a80" providerId="ADAL" clId="{97ED4A04-9D38-4FA7-9FDD-FE1CBB395B77}" dt="2021-03-04T16:59:19.011" v="1890" actId="948"/>
          <ac:spMkLst>
            <pc:docMk/>
            <pc:sldMk cId="1304563117" sldId="3093"/>
            <ac:spMk id="4" creationId="{7CE4786D-C856-4ED1-AD42-4D6D5704E74E}"/>
          </ac:spMkLst>
        </pc:spChg>
        <pc:spChg chg="add mod">
          <ac:chgData name="Henry Jammes" userId="5f22554b-fd15-4676-8c82-dc6122af2a80" providerId="ADAL" clId="{97ED4A04-9D38-4FA7-9FDD-FE1CBB395B77}" dt="2021-03-04T16:59:23.373" v="1892" actId="1035"/>
          <ac:spMkLst>
            <pc:docMk/>
            <pc:sldMk cId="1304563117" sldId="3093"/>
            <ac:spMk id="6" creationId="{8C52F58B-3961-4A55-A50B-A6F0B0CFE718}"/>
          </ac:spMkLst>
        </pc:spChg>
        <pc:spChg chg="add mod">
          <ac:chgData name="Henry Jammes" userId="5f22554b-fd15-4676-8c82-dc6122af2a80" providerId="ADAL" clId="{97ED4A04-9D38-4FA7-9FDD-FE1CBB395B77}" dt="2021-03-04T16:59:28.310" v="1896" actId="1036"/>
          <ac:spMkLst>
            <pc:docMk/>
            <pc:sldMk cId="1304563117" sldId="3093"/>
            <ac:spMk id="7" creationId="{36D891C9-9F8E-420F-B757-1CC04D83D0E3}"/>
          </ac:spMkLst>
        </pc:spChg>
        <pc:spChg chg="add mod">
          <ac:chgData name="Henry Jammes" userId="5f22554b-fd15-4676-8c82-dc6122af2a80" providerId="ADAL" clId="{97ED4A04-9D38-4FA7-9FDD-FE1CBB395B77}" dt="2021-03-04T16:59:34.950" v="1899" actId="1035"/>
          <ac:spMkLst>
            <pc:docMk/>
            <pc:sldMk cId="1304563117" sldId="3093"/>
            <ac:spMk id="8" creationId="{4626244B-15A7-491B-AA85-6DF38E48CC15}"/>
          </ac:spMkLst>
        </pc:spChg>
      </pc:sldChg>
      <pc:sldChg chg="modSp mod">
        <pc:chgData name="Henry Jammes" userId="5f22554b-fd15-4676-8c82-dc6122af2a80" providerId="ADAL" clId="{97ED4A04-9D38-4FA7-9FDD-FE1CBB395B77}" dt="2021-03-03T18:05:30.917" v="768" actId="14100"/>
        <pc:sldMkLst>
          <pc:docMk/>
          <pc:sldMk cId="3188214157" sldId="3139"/>
        </pc:sldMkLst>
        <pc:spChg chg="mod">
          <ac:chgData name="Henry Jammes" userId="5f22554b-fd15-4676-8c82-dc6122af2a80" providerId="ADAL" clId="{97ED4A04-9D38-4FA7-9FDD-FE1CBB395B77}" dt="2021-03-03T18:05:30.917" v="768" actId="14100"/>
          <ac:spMkLst>
            <pc:docMk/>
            <pc:sldMk cId="3188214157" sldId="3139"/>
            <ac:spMk id="19" creationId="{CE7FE010-44CF-434F-87CE-B51B61634818}"/>
          </ac:spMkLst>
        </pc:spChg>
      </pc:sldChg>
      <pc:sldChg chg="delSp modSp del mod ord">
        <pc:chgData name="Henry Jammes" userId="5f22554b-fd15-4676-8c82-dc6122af2a80" providerId="ADAL" clId="{97ED4A04-9D38-4FA7-9FDD-FE1CBB395B77}" dt="2021-03-04T16:49:58.721" v="1485" actId="47"/>
        <pc:sldMkLst>
          <pc:docMk/>
          <pc:sldMk cId="42697602" sldId="10244"/>
        </pc:sldMkLst>
        <pc:spChg chg="mod">
          <ac:chgData name="Henry Jammes" userId="5f22554b-fd15-4676-8c82-dc6122af2a80" providerId="ADAL" clId="{97ED4A04-9D38-4FA7-9FDD-FE1CBB395B77}" dt="2021-03-03T17:49:39.954" v="709" actId="20577"/>
          <ac:spMkLst>
            <pc:docMk/>
            <pc:sldMk cId="42697602" sldId="10244"/>
            <ac:spMk id="2" creationId="{45010FE8-BF09-4146-B084-66CB05B66FD9}"/>
          </ac:spMkLst>
        </pc:spChg>
        <pc:spChg chg="del">
          <ac:chgData name="Henry Jammes" userId="5f22554b-fd15-4676-8c82-dc6122af2a80" providerId="ADAL" clId="{97ED4A04-9D38-4FA7-9FDD-FE1CBB395B77}" dt="2021-03-04T14:54:25.418" v="1292" actId="478"/>
          <ac:spMkLst>
            <pc:docMk/>
            <pc:sldMk cId="42697602" sldId="10244"/>
            <ac:spMk id="3" creationId="{FECD1B3D-4BCE-427D-A03B-C7F242370544}"/>
          </ac:spMkLst>
        </pc:spChg>
      </pc:sldChg>
      <pc:sldChg chg="addSp delSp modSp mod">
        <pc:chgData name="Henry Jammes" userId="5f22554b-fd15-4676-8c82-dc6122af2a80" providerId="ADAL" clId="{97ED4A04-9D38-4FA7-9FDD-FE1CBB395B77}" dt="2021-03-04T14:10:27.007" v="1125" actId="20577"/>
        <pc:sldMkLst>
          <pc:docMk/>
          <pc:sldMk cId="477144629" sldId="10248"/>
        </pc:sldMkLst>
        <pc:spChg chg="mod">
          <ac:chgData name="Henry Jammes" userId="5f22554b-fd15-4676-8c82-dc6122af2a80" providerId="ADAL" clId="{97ED4A04-9D38-4FA7-9FDD-FE1CBB395B77}" dt="2021-03-04T14:10:27.007" v="1125" actId="20577"/>
          <ac:spMkLst>
            <pc:docMk/>
            <pc:sldMk cId="477144629" sldId="10248"/>
            <ac:spMk id="2" creationId="{45010FE8-BF09-4146-B084-66CB05B66FD9}"/>
          </ac:spMkLst>
        </pc:spChg>
        <pc:spChg chg="del">
          <ac:chgData name="Henry Jammes" userId="5f22554b-fd15-4676-8c82-dc6122af2a80" providerId="ADAL" clId="{97ED4A04-9D38-4FA7-9FDD-FE1CBB395B77}" dt="2021-03-04T14:10:01.962" v="1113" actId="478"/>
          <ac:spMkLst>
            <pc:docMk/>
            <pc:sldMk cId="477144629" sldId="10248"/>
            <ac:spMk id="4" creationId="{FFC30DA8-28AD-4462-B2EC-3BC034CF4EB9}"/>
          </ac:spMkLst>
        </pc:spChg>
        <pc:spChg chg="add mod">
          <ac:chgData name="Henry Jammes" userId="5f22554b-fd15-4676-8c82-dc6122af2a80" providerId="ADAL" clId="{97ED4A04-9D38-4FA7-9FDD-FE1CBB395B77}" dt="2021-03-04T14:10:23.107" v="1124" actId="1076"/>
          <ac:spMkLst>
            <pc:docMk/>
            <pc:sldMk cId="477144629" sldId="10248"/>
            <ac:spMk id="5" creationId="{2BCE43B4-7B8C-47E7-AAF2-8374593499E7}"/>
          </ac:spMkLst>
        </pc:spChg>
      </pc:sldChg>
      <pc:sldChg chg="mod modShow">
        <pc:chgData name="Henry Jammes" userId="5f22554b-fd15-4676-8c82-dc6122af2a80" providerId="ADAL" clId="{97ED4A04-9D38-4FA7-9FDD-FE1CBB395B77}" dt="2021-03-03T17:52:33.135" v="753" actId="729"/>
        <pc:sldMkLst>
          <pc:docMk/>
          <pc:sldMk cId="2991262194" sldId="10259"/>
        </pc:sldMkLst>
      </pc:sldChg>
      <pc:sldChg chg="mod modShow">
        <pc:chgData name="Henry Jammes" userId="5f22554b-fd15-4676-8c82-dc6122af2a80" providerId="ADAL" clId="{97ED4A04-9D38-4FA7-9FDD-FE1CBB395B77}" dt="2021-03-03T17:52:33.135" v="753" actId="729"/>
        <pc:sldMkLst>
          <pc:docMk/>
          <pc:sldMk cId="3662841844" sldId="10264"/>
        </pc:sldMkLst>
      </pc:sldChg>
      <pc:sldChg chg="mod modShow">
        <pc:chgData name="Henry Jammes" userId="5f22554b-fd15-4676-8c82-dc6122af2a80" providerId="ADAL" clId="{97ED4A04-9D38-4FA7-9FDD-FE1CBB395B77}" dt="2021-03-03T17:52:33.135" v="753" actId="729"/>
        <pc:sldMkLst>
          <pc:docMk/>
          <pc:sldMk cId="1339202614" sldId="10265"/>
        </pc:sldMkLst>
      </pc:sldChg>
      <pc:sldChg chg="mod modShow">
        <pc:chgData name="Henry Jammes" userId="5f22554b-fd15-4676-8c82-dc6122af2a80" providerId="ADAL" clId="{97ED4A04-9D38-4FA7-9FDD-FE1CBB395B77}" dt="2021-03-03T17:52:33.135" v="753" actId="729"/>
        <pc:sldMkLst>
          <pc:docMk/>
          <pc:sldMk cId="967392529" sldId="10266"/>
        </pc:sldMkLst>
      </pc:sldChg>
      <pc:sldChg chg="mod modShow">
        <pc:chgData name="Henry Jammes" userId="5f22554b-fd15-4676-8c82-dc6122af2a80" providerId="ADAL" clId="{97ED4A04-9D38-4FA7-9FDD-FE1CBB395B77}" dt="2021-03-03T17:52:33.135" v="753" actId="729"/>
        <pc:sldMkLst>
          <pc:docMk/>
          <pc:sldMk cId="3310678658" sldId="10267"/>
        </pc:sldMkLst>
      </pc:sldChg>
      <pc:sldChg chg="mod modShow">
        <pc:chgData name="Henry Jammes" userId="5f22554b-fd15-4676-8c82-dc6122af2a80" providerId="ADAL" clId="{97ED4A04-9D38-4FA7-9FDD-FE1CBB395B77}" dt="2021-03-03T17:52:33.135" v="753" actId="729"/>
        <pc:sldMkLst>
          <pc:docMk/>
          <pc:sldMk cId="142668880" sldId="10268"/>
        </pc:sldMkLst>
      </pc:sldChg>
      <pc:sldChg chg="mod modShow">
        <pc:chgData name="Henry Jammes" userId="5f22554b-fd15-4676-8c82-dc6122af2a80" providerId="ADAL" clId="{97ED4A04-9D38-4FA7-9FDD-FE1CBB395B77}" dt="2021-03-03T17:52:33.135" v="753" actId="729"/>
        <pc:sldMkLst>
          <pc:docMk/>
          <pc:sldMk cId="1430658630" sldId="10270"/>
        </pc:sldMkLst>
      </pc:sldChg>
      <pc:sldChg chg="mod modShow">
        <pc:chgData name="Henry Jammes" userId="5f22554b-fd15-4676-8c82-dc6122af2a80" providerId="ADAL" clId="{97ED4A04-9D38-4FA7-9FDD-FE1CBB395B77}" dt="2021-03-03T17:52:33.135" v="753" actId="729"/>
        <pc:sldMkLst>
          <pc:docMk/>
          <pc:sldMk cId="938064329" sldId="10272"/>
        </pc:sldMkLst>
      </pc:sldChg>
      <pc:sldChg chg="modSp mod">
        <pc:chgData name="Henry Jammes" userId="5f22554b-fd15-4676-8c82-dc6122af2a80" providerId="ADAL" clId="{97ED4A04-9D38-4FA7-9FDD-FE1CBB395B77}" dt="2021-03-03T16:23:11.912" v="57" actId="404"/>
        <pc:sldMkLst>
          <pc:docMk/>
          <pc:sldMk cId="526414105" sldId="10289"/>
        </pc:sldMkLst>
        <pc:spChg chg="mod">
          <ac:chgData name="Henry Jammes" userId="5f22554b-fd15-4676-8c82-dc6122af2a80" providerId="ADAL" clId="{97ED4A04-9D38-4FA7-9FDD-FE1CBB395B77}" dt="2021-03-03T16:23:11.912" v="57" actId="404"/>
          <ac:spMkLst>
            <pc:docMk/>
            <pc:sldMk cId="526414105" sldId="10289"/>
            <ac:spMk id="5" creationId="{E7503F64-CFA9-4B15-BBFB-8E55D5867F21}"/>
          </ac:spMkLst>
        </pc:spChg>
      </pc:sldChg>
      <pc:sldChg chg="delSp mod ord modShow addCm delCm">
        <pc:chgData name="Henry Jammes" userId="5f22554b-fd15-4676-8c82-dc6122af2a80" providerId="ADAL" clId="{97ED4A04-9D38-4FA7-9FDD-FE1CBB395B77}" dt="2021-03-04T14:23:01.516" v="1286" actId="478"/>
        <pc:sldMkLst>
          <pc:docMk/>
          <pc:sldMk cId="561760022" sldId="10292"/>
        </pc:sldMkLst>
        <pc:spChg chg="del">
          <ac:chgData name="Henry Jammes" userId="5f22554b-fd15-4676-8c82-dc6122af2a80" providerId="ADAL" clId="{97ED4A04-9D38-4FA7-9FDD-FE1CBB395B77}" dt="2021-03-04T14:23:01.516" v="1286" actId="478"/>
          <ac:spMkLst>
            <pc:docMk/>
            <pc:sldMk cId="561760022" sldId="10292"/>
            <ac:spMk id="3" creationId="{D51B08E2-1606-4011-A509-B22228612358}"/>
          </ac:spMkLst>
        </pc:spChg>
      </pc:sldChg>
      <pc:sldChg chg="addSp delSp modSp mod ord modShow addCm delCm">
        <pc:chgData name="Henry Jammes" userId="5f22554b-fd15-4676-8c82-dc6122af2a80" providerId="ADAL" clId="{97ED4A04-9D38-4FA7-9FDD-FE1CBB395B77}" dt="2021-03-04T14:23:05.824" v="1289" actId="478"/>
        <pc:sldMkLst>
          <pc:docMk/>
          <pc:sldMk cId="963795105" sldId="10293"/>
        </pc:sldMkLst>
        <pc:spChg chg="add del">
          <ac:chgData name="Henry Jammes" userId="5f22554b-fd15-4676-8c82-dc6122af2a80" providerId="ADAL" clId="{97ED4A04-9D38-4FA7-9FDD-FE1CBB395B77}" dt="2021-03-04T14:23:04.250" v="1288" actId="478"/>
          <ac:spMkLst>
            <pc:docMk/>
            <pc:sldMk cId="963795105" sldId="10293"/>
            <ac:spMk id="2" creationId="{45010FE8-BF09-4146-B084-66CB05B66FD9}"/>
          </ac:spMkLst>
        </pc:spChg>
        <pc:spChg chg="del">
          <ac:chgData name="Henry Jammes" userId="5f22554b-fd15-4676-8c82-dc6122af2a80" providerId="ADAL" clId="{97ED4A04-9D38-4FA7-9FDD-FE1CBB395B77}" dt="2021-03-04T14:23:05.824" v="1289" actId="478"/>
          <ac:spMkLst>
            <pc:docMk/>
            <pc:sldMk cId="963795105" sldId="10293"/>
            <ac:spMk id="3" creationId="{9657F689-D849-4034-A902-D0D7972CC5E9}"/>
          </ac:spMkLst>
        </pc:spChg>
        <pc:spChg chg="add del mod">
          <ac:chgData name="Henry Jammes" userId="5f22554b-fd15-4676-8c82-dc6122af2a80" providerId="ADAL" clId="{97ED4A04-9D38-4FA7-9FDD-FE1CBB395B77}" dt="2021-03-04T14:23:04.250" v="1288" actId="478"/>
          <ac:spMkLst>
            <pc:docMk/>
            <pc:sldMk cId="963795105" sldId="10293"/>
            <ac:spMk id="5" creationId="{0EB235B0-66FC-4608-BEE7-B2EE60903D84}"/>
          </ac:spMkLst>
        </pc:spChg>
      </pc:sldChg>
      <pc:sldChg chg="mod modShow">
        <pc:chgData name="Henry Jammes" userId="5f22554b-fd15-4676-8c82-dc6122af2a80" providerId="ADAL" clId="{97ED4A04-9D38-4FA7-9FDD-FE1CBB395B77}" dt="2021-03-03T17:52:33.135" v="753" actId="729"/>
        <pc:sldMkLst>
          <pc:docMk/>
          <pc:sldMk cId="1516490547" sldId="10296"/>
        </pc:sldMkLst>
      </pc:sldChg>
      <pc:sldChg chg="delSp del mod">
        <pc:chgData name="Henry Jammes" userId="5f22554b-fd15-4676-8c82-dc6122af2a80" providerId="ADAL" clId="{97ED4A04-9D38-4FA7-9FDD-FE1CBB395B77}" dt="2021-03-04T16:23:44.627" v="1469" actId="47"/>
        <pc:sldMkLst>
          <pc:docMk/>
          <pc:sldMk cId="2326029609" sldId="10322"/>
        </pc:sldMkLst>
        <pc:spChg chg="del">
          <ac:chgData name="Henry Jammes" userId="5f22554b-fd15-4676-8c82-dc6122af2a80" providerId="ADAL" clId="{97ED4A04-9D38-4FA7-9FDD-FE1CBB395B77}" dt="2021-03-04T14:22:31.167" v="1284" actId="478"/>
          <ac:spMkLst>
            <pc:docMk/>
            <pc:sldMk cId="2326029609" sldId="10322"/>
            <ac:spMk id="3" creationId="{FB1D38A6-0EA3-4BB2-946B-FFD5EA35ADB9}"/>
          </ac:spMkLst>
        </pc:spChg>
      </pc:sldChg>
      <pc:sldChg chg="addSp delSp modSp mod">
        <pc:chgData name="Henry Jammes" userId="5f22554b-fd15-4676-8c82-dc6122af2a80" providerId="ADAL" clId="{97ED4A04-9D38-4FA7-9FDD-FE1CBB395B77}" dt="2021-03-03T17:52:07.464" v="751" actId="20577"/>
        <pc:sldMkLst>
          <pc:docMk/>
          <pc:sldMk cId="2718886074" sldId="10331"/>
        </pc:sldMkLst>
        <pc:spChg chg="add del mod">
          <ac:chgData name="Henry Jammes" userId="5f22554b-fd15-4676-8c82-dc6122af2a80" providerId="ADAL" clId="{97ED4A04-9D38-4FA7-9FDD-FE1CBB395B77}" dt="2021-03-03T17:51:57.001" v="728" actId="478"/>
          <ac:spMkLst>
            <pc:docMk/>
            <pc:sldMk cId="2718886074" sldId="10331"/>
            <ac:spMk id="3" creationId="{7FF742ED-B70C-4808-AECB-0C4040A056C7}"/>
          </ac:spMkLst>
        </pc:spChg>
        <pc:spChg chg="add mod">
          <ac:chgData name="Henry Jammes" userId="5f22554b-fd15-4676-8c82-dc6122af2a80" providerId="ADAL" clId="{97ED4A04-9D38-4FA7-9FDD-FE1CBB395B77}" dt="2021-03-03T17:52:07.464" v="751" actId="20577"/>
          <ac:spMkLst>
            <pc:docMk/>
            <pc:sldMk cId="2718886074" sldId="10331"/>
            <ac:spMk id="4" creationId="{D4A6C5B7-1FF9-40ED-B5CF-C60C02256475}"/>
          </ac:spMkLst>
        </pc:spChg>
        <pc:spChg chg="del mod">
          <ac:chgData name="Henry Jammes" userId="5f22554b-fd15-4676-8c82-dc6122af2a80" providerId="ADAL" clId="{97ED4A04-9D38-4FA7-9FDD-FE1CBB395B77}" dt="2021-03-03T17:51:54.815" v="727" actId="478"/>
          <ac:spMkLst>
            <pc:docMk/>
            <pc:sldMk cId="2718886074" sldId="10331"/>
            <ac:spMk id="5" creationId="{E7503F64-CFA9-4B15-BBFB-8E55D5867F21}"/>
          </ac:spMkLst>
        </pc:spChg>
      </pc:sldChg>
      <pc:sldChg chg="mod modShow">
        <pc:chgData name="Henry Jammes" userId="5f22554b-fd15-4676-8c82-dc6122af2a80" providerId="ADAL" clId="{97ED4A04-9D38-4FA7-9FDD-FE1CBB395B77}" dt="2021-03-03T17:52:33.135" v="753" actId="729"/>
        <pc:sldMkLst>
          <pc:docMk/>
          <pc:sldMk cId="3462215717" sldId="10334"/>
        </pc:sldMkLst>
      </pc:sldChg>
      <pc:sldChg chg="addSp delSp modSp mod setBg">
        <pc:chgData name="Henry Jammes" userId="5f22554b-fd15-4676-8c82-dc6122af2a80" providerId="ADAL" clId="{97ED4A04-9D38-4FA7-9FDD-FE1CBB395B77}" dt="2021-03-04T14:05:03.818" v="1058" actId="20577"/>
        <pc:sldMkLst>
          <pc:docMk/>
          <pc:sldMk cId="2405472054" sldId="10335"/>
        </pc:sldMkLst>
        <pc:spChg chg="add mod">
          <ac:chgData name="Henry Jammes" userId="5f22554b-fd15-4676-8c82-dc6122af2a80" providerId="ADAL" clId="{97ED4A04-9D38-4FA7-9FDD-FE1CBB395B77}" dt="2021-03-04T14:05:03.818" v="1058" actId="20577"/>
          <ac:spMkLst>
            <pc:docMk/>
            <pc:sldMk cId="2405472054" sldId="10335"/>
            <ac:spMk id="3" creationId="{6F662F3A-B934-415E-B08B-7D443970BE63}"/>
          </ac:spMkLst>
        </pc:spChg>
        <pc:spChg chg="del mod">
          <ac:chgData name="Henry Jammes" userId="5f22554b-fd15-4676-8c82-dc6122af2a80" providerId="ADAL" clId="{97ED4A04-9D38-4FA7-9FDD-FE1CBB395B77}" dt="2021-03-03T16:22:16.267" v="48" actId="478"/>
          <ac:spMkLst>
            <pc:docMk/>
            <pc:sldMk cId="2405472054" sldId="10335"/>
            <ac:spMk id="5" creationId="{E7503F64-CFA9-4B15-BBFB-8E55D5867F21}"/>
          </ac:spMkLst>
        </pc:spChg>
      </pc:sldChg>
      <pc:sldChg chg="delSp modSp mod">
        <pc:chgData name="Henry Jammes" userId="5f22554b-fd15-4676-8c82-dc6122af2a80" providerId="ADAL" clId="{97ED4A04-9D38-4FA7-9FDD-FE1CBB395B77}" dt="2021-03-04T14:05:10.632" v="1059" actId="478"/>
        <pc:sldMkLst>
          <pc:docMk/>
          <pc:sldMk cId="2889224282" sldId="10336"/>
        </pc:sldMkLst>
        <pc:spChg chg="mod">
          <ac:chgData name="Henry Jammes" userId="5f22554b-fd15-4676-8c82-dc6122af2a80" providerId="ADAL" clId="{97ED4A04-9D38-4FA7-9FDD-FE1CBB395B77}" dt="2021-03-03T17:48:11.432" v="673" actId="20577"/>
          <ac:spMkLst>
            <pc:docMk/>
            <pc:sldMk cId="2889224282" sldId="10336"/>
            <ac:spMk id="2" creationId="{45010FE8-BF09-4146-B084-66CB05B66FD9}"/>
          </ac:spMkLst>
        </pc:spChg>
        <pc:spChg chg="del">
          <ac:chgData name="Henry Jammes" userId="5f22554b-fd15-4676-8c82-dc6122af2a80" providerId="ADAL" clId="{97ED4A04-9D38-4FA7-9FDD-FE1CBB395B77}" dt="2021-03-04T14:05:10.632" v="1059" actId="478"/>
          <ac:spMkLst>
            <pc:docMk/>
            <pc:sldMk cId="2889224282" sldId="10336"/>
            <ac:spMk id="4" creationId="{3BDFE1C6-FBEF-4C43-A61D-85CDEBA6CE4D}"/>
          </ac:spMkLst>
        </pc:spChg>
        <pc:spChg chg="mod">
          <ac:chgData name="Henry Jammes" userId="5f22554b-fd15-4676-8c82-dc6122af2a80" providerId="ADAL" clId="{97ED4A04-9D38-4FA7-9FDD-FE1CBB395B77}" dt="2021-03-03T17:25:52.902" v="285" actId="20577"/>
          <ac:spMkLst>
            <pc:docMk/>
            <pc:sldMk cId="2889224282" sldId="10336"/>
            <ac:spMk id="11" creationId="{76583F2C-13BC-4FA8-A9DE-F1F764C38F10}"/>
          </ac:spMkLst>
        </pc:spChg>
      </pc:sldChg>
      <pc:sldChg chg="delSp modSp mod">
        <pc:chgData name="Henry Jammes" userId="5f22554b-fd15-4676-8c82-dc6122af2a80" providerId="ADAL" clId="{97ED4A04-9D38-4FA7-9FDD-FE1CBB395B77}" dt="2021-03-04T14:55:36.304" v="1333" actId="6549"/>
        <pc:sldMkLst>
          <pc:docMk/>
          <pc:sldMk cId="494690514" sldId="10337"/>
        </pc:sldMkLst>
        <pc:spChg chg="mod">
          <ac:chgData name="Henry Jammes" userId="5f22554b-fd15-4676-8c82-dc6122af2a80" providerId="ADAL" clId="{97ED4A04-9D38-4FA7-9FDD-FE1CBB395B77}" dt="2021-03-03T17:48:15.001" v="674" actId="20577"/>
          <ac:spMkLst>
            <pc:docMk/>
            <pc:sldMk cId="494690514" sldId="10337"/>
            <ac:spMk id="2" creationId="{45010FE8-BF09-4146-B084-66CB05B66FD9}"/>
          </ac:spMkLst>
        </pc:spChg>
        <pc:spChg chg="del">
          <ac:chgData name="Henry Jammes" userId="5f22554b-fd15-4676-8c82-dc6122af2a80" providerId="ADAL" clId="{97ED4A04-9D38-4FA7-9FDD-FE1CBB395B77}" dt="2021-03-04T14:05:13.660" v="1060" actId="478"/>
          <ac:spMkLst>
            <pc:docMk/>
            <pc:sldMk cId="494690514" sldId="10337"/>
            <ac:spMk id="4" creationId="{3BDFE1C6-FBEF-4C43-A61D-85CDEBA6CE4D}"/>
          </ac:spMkLst>
        </pc:spChg>
        <pc:spChg chg="mod">
          <ac:chgData name="Henry Jammes" userId="5f22554b-fd15-4676-8c82-dc6122af2a80" providerId="ADAL" clId="{97ED4A04-9D38-4FA7-9FDD-FE1CBB395B77}" dt="2021-03-04T14:55:36.304" v="1333" actId="6549"/>
          <ac:spMkLst>
            <pc:docMk/>
            <pc:sldMk cId="494690514" sldId="10337"/>
            <ac:spMk id="11" creationId="{76583F2C-13BC-4FA8-A9DE-F1F764C38F10}"/>
          </ac:spMkLst>
        </pc:spChg>
        <pc:spChg chg="mod">
          <ac:chgData name="Henry Jammes" userId="5f22554b-fd15-4676-8c82-dc6122af2a80" providerId="ADAL" clId="{97ED4A04-9D38-4FA7-9FDD-FE1CBB395B77}" dt="2021-03-03T17:26:34.763" v="289" actId="20577"/>
          <ac:spMkLst>
            <pc:docMk/>
            <pc:sldMk cId="494690514" sldId="10337"/>
            <ac:spMk id="15" creationId="{BDD64BFD-7ED9-4476-ABC3-6BBAC4A275B2}"/>
          </ac:spMkLst>
        </pc:spChg>
      </pc:sldChg>
      <pc:sldChg chg="delSp modSp mod ord">
        <pc:chgData name="Henry Jammes" userId="5f22554b-fd15-4676-8c82-dc6122af2a80" providerId="ADAL" clId="{97ED4A04-9D38-4FA7-9FDD-FE1CBB395B77}" dt="2021-03-04T14:06:50.447" v="1063" actId="14100"/>
        <pc:sldMkLst>
          <pc:docMk/>
          <pc:sldMk cId="2221718970" sldId="10338"/>
        </pc:sldMkLst>
        <pc:spChg chg="mod">
          <ac:chgData name="Henry Jammes" userId="5f22554b-fd15-4676-8c82-dc6122af2a80" providerId="ADAL" clId="{97ED4A04-9D38-4FA7-9FDD-FE1CBB395B77}" dt="2021-03-03T17:48:26.690" v="682" actId="20577"/>
          <ac:spMkLst>
            <pc:docMk/>
            <pc:sldMk cId="2221718970" sldId="10338"/>
            <ac:spMk id="2" creationId="{45010FE8-BF09-4146-B084-66CB05B66FD9}"/>
          </ac:spMkLst>
        </pc:spChg>
        <pc:spChg chg="del mod">
          <ac:chgData name="Henry Jammes" userId="5f22554b-fd15-4676-8c82-dc6122af2a80" providerId="ADAL" clId="{97ED4A04-9D38-4FA7-9FDD-FE1CBB395B77}" dt="2021-03-04T14:06:30.152" v="1062" actId="478"/>
          <ac:spMkLst>
            <pc:docMk/>
            <pc:sldMk cId="2221718970" sldId="10338"/>
            <ac:spMk id="4" creationId="{3BDFE1C6-FBEF-4C43-A61D-85CDEBA6CE4D}"/>
          </ac:spMkLst>
        </pc:spChg>
        <pc:spChg chg="mod">
          <ac:chgData name="Henry Jammes" userId="5f22554b-fd15-4676-8c82-dc6122af2a80" providerId="ADAL" clId="{97ED4A04-9D38-4FA7-9FDD-FE1CBB395B77}" dt="2021-03-04T14:06:50.447" v="1063" actId="14100"/>
          <ac:spMkLst>
            <pc:docMk/>
            <pc:sldMk cId="2221718970" sldId="10338"/>
            <ac:spMk id="15" creationId="{BDD64BFD-7ED9-4476-ABC3-6BBAC4A275B2}"/>
          </ac:spMkLst>
        </pc:spChg>
      </pc:sldChg>
      <pc:sldChg chg="addSp delSp modSp mod">
        <pc:chgData name="Henry Jammes" userId="5f22554b-fd15-4676-8c82-dc6122af2a80" providerId="ADAL" clId="{97ED4A04-9D38-4FA7-9FDD-FE1CBB395B77}" dt="2021-03-04T14:09:46.572" v="1105" actId="21"/>
        <pc:sldMkLst>
          <pc:docMk/>
          <pc:sldMk cId="1722379815" sldId="10339"/>
        </pc:sldMkLst>
        <pc:spChg chg="add del">
          <ac:chgData name="Henry Jammes" userId="5f22554b-fd15-4676-8c82-dc6122af2a80" providerId="ADAL" clId="{97ED4A04-9D38-4FA7-9FDD-FE1CBB395B77}" dt="2021-03-04T14:09:28.100" v="1098" actId="22"/>
          <ac:spMkLst>
            <pc:docMk/>
            <pc:sldMk cId="1722379815" sldId="10339"/>
            <ac:spMk id="2" creationId="{DBA48A05-AE92-4BE3-9C2F-067DE0B422B8}"/>
          </ac:spMkLst>
        </pc:spChg>
        <pc:spChg chg="add del">
          <ac:chgData name="Henry Jammes" userId="5f22554b-fd15-4676-8c82-dc6122af2a80" providerId="ADAL" clId="{97ED4A04-9D38-4FA7-9FDD-FE1CBB395B77}" dt="2021-03-03T17:27:16.474" v="294" actId="22"/>
          <ac:spMkLst>
            <pc:docMk/>
            <pc:sldMk cId="1722379815" sldId="10339"/>
            <ac:spMk id="4" creationId="{76AC2391-787F-4022-BAB5-19A35910D1D1}"/>
          </ac:spMkLst>
        </pc:spChg>
        <pc:spChg chg="add del mod">
          <ac:chgData name="Henry Jammes" userId="5f22554b-fd15-4676-8c82-dc6122af2a80" providerId="ADAL" clId="{97ED4A04-9D38-4FA7-9FDD-FE1CBB395B77}" dt="2021-03-04T14:09:46.572" v="1105" actId="21"/>
          <ac:spMkLst>
            <pc:docMk/>
            <pc:sldMk cId="1722379815" sldId="10339"/>
            <ac:spMk id="4" creationId="{FE956622-4001-4C4E-95DA-358A11C120A0}"/>
          </ac:spMkLst>
        </pc:spChg>
        <pc:spChg chg="del mod">
          <ac:chgData name="Henry Jammes" userId="5f22554b-fd15-4676-8c82-dc6122af2a80" providerId="ADAL" clId="{97ED4A04-9D38-4FA7-9FDD-FE1CBB395B77}" dt="2021-03-03T17:27:33.198" v="300" actId="478"/>
          <ac:spMkLst>
            <pc:docMk/>
            <pc:sldMk cId="1722379815" sldId="10339"/>
            <ac:spMk id="5" creationId="{E7503F64-CFA9-4B15-BBFB-8E55D5867F21}"/>
          </ac:spMkLst>
        </pc:spChg>
        <pc:spChg chg="add del">
          <ac:chgData name="Henry Jammes" userId="5f22554b-fd15-4676-8c82-dc6122af2a80" providerId="ADAL" clId="{97ED4A04-9D38-4FA7-9FDD-FE1CBB395B77}" dt="2021-03-03T17:27:17.302" v="296" actId="22"/>
          <ac:spMkLst>
            <pc:docMk/>
            <pc:sldMk cId="1722379815" sldId="10339"/>
            <ac:spMk id="6" creationId="{7ECA6965-C858-444D-A672-1ACFE963933F}"/>
          </ac:spMkLst>
        </pc:spChg>
        <pc:spChg chg="add del">
          <ac:chgData name="Henry Jammes" userId="5f22554b-fd15-4676-8c82-dc6122af2a80" providerId="ADAL" clId="{97ED4A04-9D38-4FA7-9FDD-FE1CBB395B77}" dt="2021-03-03T17:27:29.459" v="298" actId="22"/>
          <ac:spMkLst>
            <pc:docMk/>
            <pc:sldMk cId="1722379815" sldId="10339"/>
            <ac:spMk id="8" creationId="{5CC50B97-0EA9-40C1-876A-B9D346E1708C}"/>
          </ac:spMkLst>
        </pc:spChg>
        <pc:spChg chg="add mod">
          <ac:chgData name="Henry Jammes" userId="5f22554b-fd15-4676-8c82-dc6122af2a80" providerId="ADAL" clId="{97ED4A04-9D38-4FA7-9FDD-FE1CBB395B77}" dt="2021-03-03T17:32:41.120" v="452" actId="20577"/>
          <ac:spMkLst>
            <pc:docMk/>
            <pc:sldMk cId="1722379815" sldId="10339"/>
            <ac:spMk id="10" creationId="{C9D82A8F-AC9B-4CAE-B512-25AAD63562E6}"/>
          </ac:spMkLst>
        </pc:spChg>
      </pc:sldChg>
      <pc:sldChg chg="addSp delSp modSp mod">
        <pc:chgData name="Henry Jammes" userId="5f22554b-fd15-4676-8c82-dc6122af2a80" providerId="ADAL" clId="{97ED4A04-9D38-4FA7-9FDD-FE1CBB395B77}" dt="2021-03-03T17:32:36.596" v="451" actId="20577"/>
        <pc:sldMkLst>
          <pc:docMk/>
          <pc:sldMk cId="1741123349" sldId="10340"/>
        </pc:sldMkLst>
        <pc:spChg chg="add del mod">
          <ac:chgData name="Henry Jammes" userId="5f22554b-fd15-4676-8c82-dc6122af2a80" providerId="ADAL" clId="{97ED4A04-9D38-4FA7-9FDD-FE1CBB395B77}" dt="2021-03-03T17:29:59.134" v="359" actId="478"/>
          <ac:spMkLst>
            <pc:docMk/>
            <pc:sldMk cId="1741123349" sldId="10340"/>
            <ac:spMk id="3" creationId="{5406FC76-98E3-4D23-A3D7-97161450D6E3}"/>
          </ac:spMkLst>
        </pc:spChg>
        <pc:spChg chg="add del">
          <ac:chgData name="Henry Jammes" userId="5f22554b-fd15-4676-8c82-dc6122af2a80" providerId="ADAL" clId="{97ED4A04-9D38-4FA7-9FDD-FE1CBB395B77}" dt="2021-03-03T17:29:57.918" v="358" actId="22"/>
          <ac:spMkLst>
            <pc:docMk/>
            <pc:sldMk cId="1741123349" sldId="10340"/>
            <ac:spMk id="4" creationId="{A606EC05-3CA1-4F10-89F6-9EBAF5D3DF1A}"/>
          </ac:spMkLst>
        </pc:spChg>
        <pc:spChg chg="del">
          <ac:chgData name="Henry Jammes" userId="5f22554b-fd15-4676-8c82-dc6122af2a80" providerId="ADAL" clId="{97ED4A04-9D38-4FA7-9FDD-FE1CBB395B77}" dt="2021-03-03T17:29:56.888" v="356" actId="478"/>
          <ac:spMkLst>
            <pc:docMk/>
            <pc:sldMk cId="1741123349" sldId="10340"/>
            <ac:spMk id="5" creationId="{E7503F64-CFA9-4B15-BBFB-8E55D5867F21}"/>
          </ac:spMkLst>
        </pc:spChg>
        <pc:spChg chg="add mod">
          <ac:chgData name="Henry Jammes" userId="5f22554b-fd15-4676-8c82-dc6122af2a80" providerId="ADAL" clId="{97ED4A04-9D38-4FA7-9FDD-FE1CBB395B77}" dt="2021-03-03T17:32:36.596" v="451" actId="20577"/>
          <ac:spMkLst>
            <pc:docMk/>
            <pc:sldMk cId="1741123349" sldId="10340"/>
            <ac:spMk id="8" creationId="{7AA28988-B00E-40C5-B3D3-B0082731570B}"/>
          </ac:spMkLst>
        </pc:spChg>
      </pc:sldChg>
      <pc:sldChg chg="addSp delSp modSp mod">
        <pc:chgData name="Henry Jammes" userId="5f22554b-fd15-4676-8c82-dc6122af2a80" providerId="ADAL" clId="{97ED4A04-9D38-4FA7-9FDD-FE1CBB395B77}" dt="2021-03-04T16:57:37.668" v="1875" actId="207"/>
        <pc:sldMkLst>
          <pc:docMk/>
          <pc:sldMk cId="3936993880" sldId="2076138100"/>
        </pc:sldMkLst>
        <pc:spChg chg="add del mod">
          <ac:chgData name="Henry Jammes" userId="5f22554b-fd15-4676-8c82-dc6122af2a80" providerId="ADAL" clId="{97ED4A04-9D38-4FA7-9FDD-FE1CBB395B77}" dt="2021-03-03T17:32:25.697" v="440" actId="478"/>
          <ac:spMkLst>
            <pc:docMk/>
            <pc:sldMk cId="3936993880" sldId="2076138100"/>
            <ac:spMk id="3" creationId="{89927A1C-0B3A-4671-9984-18FFAB76DC76}"/>
          </ac:spMkLst>
        </pc:spChg>
        <pc:spChg chg="add mod">
          <ac:chgData name="Henry Jammes" userId="5f22554b-fd15-4676-8c82-dc6122af2a80" providerId="ADAL" clId="{97ED4A04-9D38-4FA7-9FDD-FE1CBB395B77}" dt="2021-03-04T16:57:37.668" v="1875" actId="207"/>
          <ac:spMkLst>
            <pc:docMk/>
            <pc:sldMk cId="3936993880" sldId="2076138100"/>
            <ac:spMk id="4" creationId="{7CEE9F69-5E1D-4C56-9465-C7C0BC28B0DB}"/>
          </ac:spMkLst>
        </pc:spChg>
        <pc:spChg chg="del">
          <ac:chgData name="Henry Jammes" userId="5f22554b-fd15-4676-8c82-dc6122af2a80" providerId="ADAL" clId="{97ED4A04-9D38-4FA7-9FDD-FE1CBB395B77}" dt="2021-03-03T17:32:21.651" v="439" actId="478"/>
          <ac:spMkLst>
            <pc:docMk/>
            <pc:sldMk cId="3936993880" sldId="2076138100"/>
            <ac:spMk id="5" creationId="{E7503F64-CFA9-4B15-BBFB-8E55D5867F21}"/>
          </ac:spMkLst>
        </pc:spChg>
      </pc:sldChg>
      <pc:sldChg chg="addSp delSp modSp del mod">
        <pc:chgData name="Henry Jammes" userId="5f22554b-fd15-4676-8c82-dc6122af2a80" providerId="ADAL" clId="{97ED4A04-9D38-4FA7-9FDD-FE1CBB395B77}" dt="2021-03-03T18:18:20.648" v="839" actId="18676"/>
        <pc:sldMkLst>
          <pc:docMk/>
          <pc:sldMk cId="1267417622" sldId="2076138101"/>
        </pc:sldMkLst>
        <pc:spChg chg="add del mod">
          <ac:chgData name="Henry Jammes" userId="5f22554b-fd15-4676-8c82-dc6122af2a80" providerId="ADAL" clId="{97ED4A04-9D38-4FA7-9FDD-FE1CBB395B77}" dt="2021-03-03T17:32:50.420" v="454" actId="478"/>
          <ac:spMkLst>
            <pc:docMk/>
            <pc:sldMk cId="1267417622" sldId="2076138101"/>
            <ac:spMk id="3" creationId="{9111C530-506A-43D6-B950-70D7D655CB2B}"/>
          </ac:spMkLst>
        </pc:spChg>
        <pc:spChg chg="add mod">
          <ac:chgData name="Henry Jammes" userId="5f22554b-fd15-4676-8c82-dc6122af2a80" providerId="ADAL" clId="{97ED4A04-9D38-4FA7-9FDD-FE1CBB395B77}" dt="2021-03-03T17:49:36.219" v="706" actId="20577"/>
          <ac:spMkLst>
            <pc:docMk/>
            <pc:sldMk cId="1267417622" sldId="2076138101"/>
            <ac:spMk id="4" creationId="{256811CF-363F-415B-BDDC-702D196043BC}"/>
          </ac:spMkLst>
        </pc:spChg>
        <pc:spChg chg="del">
          <ac:chgData name="Henry Jammes" userId="5f22554b-fd15-4676-8c82-dc6122af2a80" providerId="ADAL" clId="{97ED4A04-9D38-4FA7-9FDD-FE1CBB395B77}" dt="2021-03-03T17:32:49.738" v="453" actId="478"/>
          <ac:spMkLst>
            <pc:docMk/>
            <pc:sldMk cId="1267417622" sldId="2076138101"/>
            <ac:spMk id="5" creationId="{E7503F64-CFA9-4B15-BBFB-8E55D5867F21}"/>
          </ac:spMkLst>
        </pc:spChg>
      </pc:sldChg>
      <pc:sldChg chg="addSp delSp modSp mod">
        <pc:chgData name="Henry Jammes" userId="5f22554b-fd15-4676-8c82-dc6122af2a80" providerId="ADAL" clId="{97ED4A04-9D38-4FA7-9FDD-FE1CBB395B77}" dt="2021-03-04T14:10:37.623" v="1130" actId="14100"/>
        <pc:sldMkLst>
          <pc:docMk/>
          <pc:sldMk cId="3478165757" sldId="2076138102"/>
        </pc:sldMkLst>
        <pc:spChg chg="mod">
          <ac:chgData name="Henry Jammes" userId="5f22554b-fd15-4676-8c82-dc6122af2a80" providerId="ADAL" clId="{97ED4A04-9D38-4FA7-9FDD-FE1CBB395B77}" dt="2021-03-04T14:10:37.623" v="1130" actId="14100"/>
          <ac:spMkLst>
            <pc:docMk/>
            <pc:sldMk cId="3478165757" sldId="2076138102"/>
            <ac:spMk id="2" creationId="{45010FE8-BF09-4146-B084-66CB05B66FD9}"/>
          </ac:spMkLst>
        </pc:spChg>
        <pc:spChg chg="del">
          <ac:chgData name="Henry Jammes" userId="5f22554b-fd15-4676-8c82-dc6122af2a80" providerId="ADAL" clId="{97ED4A04-9D38-4FA7-9FDD-FE1CBB395B77}" dt="2021-03-04T14:10:33.162" v="1126" actId="478"/>
          <ac:spMkLst>
            <pc:docMk/>
            <pc:sldMk cId="3478165757" sldId="2076138102"/>
            <ac:spMk id="4" creationId="{FFC30DA8-28AD-4462-B2EC-3BC034CF4EB9}"/>
          </ac:spMkLst>
        </pc:spChg>
        <pc:spChg chg="add">
          <ac:chgData name="Henry Jammes" userId="5f22554b-fd15-4676-8c82-dc6122af2a80" providerId="ADAL" clId="{97ED4A04-9D38-4FA7-9FDD-FE1CBB395B77}" dt="2021-03-04T14:10:33.597" v="1127" actId="22"/>
          <ac:spMkLst>
            <pc:docMk/>
            <pc:sldMk cId="3478165757" sldId="2076138102"/>
            <ac:spMk id="5" creationId="{267210A9-0496-466B-AB98-30E17F3E7CDD}"/>
          </ac:spMkLst>
        </pc:spChg>
      </pc:sldChg>
      <pc:sldChg chg="addSp delSp modSp mod">
        <pc:chgData name="Henry Jammes" userId="5f22554b-fd15-4676-8c82-dc6122af2a80" providerId="ADAL" clId="{97ED4A04-9D38-4FA7-9FDD-FE1CBB395B77}" dt="2021-03-04T14:22:10.316" v="1282" actId="20577"/>
        <pc:sldMkLst>
          <pc:docMk/>
          <pc:sldMk cId="1154009987" sldId="2076138103"/>
        </pc:sldMkLst>
        <pc:spChg chg="mod">
          <ac:chgData name="Henry Jammes" userId="5f22554b-fd15-4676-8c82-dc6122af2a80" providerId="ADAL" clId="{97ED4A04-9D38-4FA7-9FDD-FE1CBB395B77}" dt="2021-03-04T14:22:10.316" v="1282" actId="20577"/>
          <ac:spMkLst>
            <pc:docMk/>
            <pc:sldMk cId="1154009987" sldId="2076138103"/>
            <ac:spMk id="2" creationId="{45010FE8-BF09-4146-B084-66CB05B66FD9}"/>
          </ac:spMkLst>
        </pc:spChg>
        <pc:spChg chg="del">
          <ac:chgData name="Henry Jammes" userId="5f22554b-fd15-4676-8c82-dc6122af2a80" providerId="ADAL" clId="{97ED4A04-9D38-4FA7-9FDD-FE1CBB395B77}" dt="2021-03-04T14:09:54.435" v="1109" actId="478"/>
          <ac:spMkLst>
            <pc:docMk/>
            <pc:sldMk cId="1154009987" sldId="2076138103"/>
            <ac:spMk id="4" creationId="{FFC30DA8-28AD-4462-B2EC-3BC034CF4EB9}"/>
          </ac:spMkLst>
        </pc:spChg>
        <pc:spChg chg="add del mod">
          <ac:chgData name="Henry Jammes" userId="5f22554b-fd15-4676-8c82-dc6122af2a80" providerId="ADAL" clId="{97ED4A04-9D38-4FA7-9FDD-FE1CBB395B77}" dt="2021-03-04T14:09:53.228" v="1108" actId="478"/>
          <ac:spMkLst>
            <pc:docMk/>
            <pc:sldMk cId="1154009987" sldId="2076138103"/>
            <ac:spMk id="5" creationId="{E88A3324-1458-4EBF-BA85-2428AE369968}"/>
          </ac:spMkLst>
        </pc:spChg>
        <pc:spChg chg="add del mod">
          <ac:chgData name="Henry Jammes" userId="5f22554b-fd15-4676-8c82-dc6122af2a80" providerId="ADAL" clId="{97ED4A04-9D38-4FA7-9FDD-FE1CBB395B77}" dt="2021-03-04T14:10:50.782" v="1139" actId="478"/>
          <ac:spMkLst>
            <pc:docMk/>
            <pc:sldMk cId="1154009987" sldId="2076138103"/>
            <ac:spMk id="6" creationId="{7AD6F1E3-4EBC-49CF-BBD5-1103F7A9B695}"/>
          </ac:spMkLst>
        </pc:spChg>
        <pc:spChg chg="add mod">
          <ac:chgData name="Henry Jammes" userId="5f22554b-fd15-4676-8c82-dc6122af2a80" providerId="ADAL" clId="{97ED4A04-9D38-4FA7-9FDD-FE1CBB395B77}" dt="2021-03-04T14:11:19.577" v="1155" actId="6549"/>
          <ac:spMkLst>
            <pc:docMk/>
            <pc:sldMk cId="1154009987" sldId="2076138103"/>
            <ac:spMk id="7" creationId="{C1408932-F1BF-42A2-87AA-55FC9CDE4B28}"/>
          </ac:spMkLst>
        </pc:spChg>
      </pc:sldChg>
      <pc:sldChg chg="addSp delSp modSp mod">
        <pc:chgData name="Henry Jammes" userId="5f22554b-fd15-4676-8c82-dc6122af2a80" providerId="ADAL" clId="{97ED4A04-9D38-4FA7-9FDD-FE1CBB395B77}" dt="2021-03-04T14:10:46.037" v="1137" actId="14100"/>
        <pc:sldMkLst>
          <pc:docMk/>
          <pc:sldMk cId="3157661312" sldId="2076138105"/>
        </pc:sldMkLst>
        <pc:spChg chg="mod">
          <ac:chgData name="Henry Jammes" userId="5f22554b-fd15-4676-8c82-dc6122af2a80" providerId="ADAL" clId="{97ED4A04-9D38-4FA7-9FDD-FE1CBB395B77}" dt="2021-03-04T14:10:46.037" v="1137" actId="14100"/>
          <ac:spMkLst>
            <pc:docMk/>
            <pc:sldMk cId="3157661312" sldId="2076138105"/>
            <ac:spMk id="2" creationId="{45010FE8-BF09-4146-B084-66CB05B66FD9}"/>
          </ac:spMkLst>
        </pc:spChg>
        <pc:spChg chg="del">
          <ac:chgData name="Henry Jammes" userId="5f22554b-fd15-4676-8c82-dc6122af2a80" providerId="ADAL" clId="{97ED4A04-9D38-4FA7-9FDD-FE1CBB395B77}" dt="2021-03-04T14:10:41.029" v="1131" actId="478"/>
          <ac:spMkLst>
            <pc:docMk/>
            <pc:sldMk cId="3157661312" sldId="2076138105"/>
            <ac:spMk id="4" creationId="{FFC30DA8-28AD-4462-B2EC-3BC034CF4EB9}"/>
          </ac:spMkLst>
        </pc:spChg>
        <pc:spChg chg="add">
          <ac:chgData name="Henry Jammes" userId="5f22554b-fd15-4676-8c82-dc6122af2a80" providerId="ADAL" clId="{97ED4A04-9D38-4FA7-9FDD-FE1CBB395B77}" dt="2021-03-04T14:10:41.463" v="1132" actId="22"/>
          <ac:spMkLst>
            <pc:docMk/>
            <pc:sldMk cId="3157661312" sldId="2076138105"/>
            <ac:spMk id="5" creationId="{41C377A5-C1EA-4247-AE6F-78FF9E261A0D}"/>
          </ac:spMkLst>
        </pc:spChg>
        <pc:spChg chg="mod">
          <ac:chgData name="Henry Jammes" userId="5f22554b-fd15-4676-8c82-dc6122af2a80" providerId="ADAL" clId="{97ED4A04-9D38-4FA7-9FDD-FE1CBB395B77}" dt="2021-03-03T17:37:15.738" v="672" actId="313"/>
          <ac:spMkLst>
            <pc:docMk/>
            <pc:sldMk cId="3157661312" sldId="2076138105"/>
            <ac:spMk id="11" creationId="{76583F2C-13BC-4FA8-A9DE-F1F764C38F10}"/>
          </ac:spMkLst>
        </pc:spChg>
      </pc:sldChg>
      <pc:sldChg chg="delSp modSp del mod">
        <pc:chgData name="Henry Jammes" userId="5f22554b-fd15-4676-8c82-dc6122af2a80" providerId="ADAL" clId="{97ED4A04-9D38-4FA7-9FDD-FE1CBB395B77}" dt="2021-03-04T16:50:56.329" v="1493" actId="47"/>
        <pc:sldMkLst>
          <pc:docMk/>
          <pc:sldMk cId="1756625805" sldId="2076138106"/>
        </pc:sldMkLst>
        <pc:spChg chg="mod">
          <ac:chgData name="Henry Jammes" userId="5f22554b-fd15-4676-8c82-dc6122af2a80" providerId="ADAL" clId="{97ED4A04-9D38-4FA7-9FDD-FE1CBB395B77}" dt="2021-03-03T17:49:57.452" v="717" actId="20577"/>
          <ac:spMkLst>
            <pc:docMk/>
            <pc:sldMk cId="1756625805" sldId="2076138106"/>
            <ac:spMk id="2" creationId="{45010FE8-BF09-4146-B084-66CB05B66FD9}"/>
          </ac:spMkLst>
        </pc:spChg>
        <pc:spChg chg="del">
          <ac:chgData name="Henry Jammes" userId="5f22554b-fd15-4676-8c82-dc6122af2a80" providerId="ADAL" clId="{97ED4A04-9D38-4FA7-9FDD-FE1CBB395B77}" dt="2021-03-04T14:54:27.791" v="1293" actId="478"/>
          <ac:spMkLst>
            <pc:docMk/>
            <pc:sldMk cId="1756625805" sldId="2076138106"/>
            <ac:spMk id="3" creationId="{FECD1B3D-4BCE-427D-A03B-C7F242370544}"/>
          </ac:spMkLst>
        </pc:spChg>
      </pc:sldChg>
      <pc:sldChg chg="addSp delSp modSp mod chgLayout modNotesTx">
        <pc:chgData name="Henry Jammes" userId="5f22554b-fd15-4676-8c82-dc6122af2a80" providerId="ADAL" clId="{97ED4A04-9D38-4FA7-9FDD-FE1CBB395B77}" dt="2021-03-04T14:56:19.545" v="1343" actId="6549"/>
        <pc:sldMkLst>
          <pc:docMk/>
          <pc:sldMk cId="994621968" sldId="2076138107"/>
        </pc:sldMkLst>
        <pc:spChg chg="mod ord">
          <ac:chgData name="Henry Jammes" userId="5f22554b-fd15-4676-8c82-dc6122af2a80" providerId="ADAL" clId="{97ED4A04-9D38-4FA7-9FDD-FE1CBB395B77}" dt="2021-03-03T19:00:36.710" v="1050" actId="20577"/>
          <ac:spMkLst>
            <pc:docMk/>
            <pc:sldMk cId="994621968" sldId="2076138107"/>
            <ac:spMk id="2" creationId="{45010FE8-BF09-4146-B084-66CB05B66FD9}"/>
          </ac:spMkLst>
        </pc:spChg>
        <pc:spChg chg="del">
          <ac:chgData name="Henry Jammes" userId="5f22554b-fd15-4676-8c82-dc6122af2a80" providerId="ADAL" clId="{97ED4A04-9D38-4FA7-9FDD-FE1CBB395B77}" dt="2021-03-04T14:16:21.918" v="1190" actId="478"/>
          <ac:spMkLst>
            <pc:docMk/>
            <pc:sldMk cId="994621968" sldId="2076138107"/>
            <ac:spMk id="4" creationId="{FFC30DA8-28AD-4462-B2EC-3BC034CF4EB9}"/>
          </ac:spMkLst>
        </pc:spChg>
        <pc:spChg chg="add del mod">
          <ac:chgData name="Henry Jammes" userId="5f22554b-fd15-4676-8c82-dc6122af2a80" providerId="ADAL" clId="{97ED4A04-9D38-4FA7-9FDD-FE1CBB395B77}" dt="2021-03-03T17:36:54.768" v="670" actId="6264"/>
          <ac:spMkLst>
            <pc:docMk/>
            <pc:sldMk cId="994621968" sldId="2076138107"/>
            <ac:spMk id="5" creationId="{DE02342A-D709-4D2F-9872-438AC5A2467A}"/>
          </ac:spMkLst>
        </pc:spChg>
        <pc:spChg chg="mod">
          <ac:chgData name="Henry Jammes" userId="5f22554b-fd15-4676-8c82-dc6122af2a80" providerId="ADAL" clId="{97ED4A04-9D38-4FA7-9FDD-FE1CBB395B77}" dt="2021-03-03T18:58:07.668" v="1011" actId="20577"/>
          <ac:spMkLst>
            <pc:docMk/>
            <pc:sldMk cId="994621968" sldId="2076138107"/>
            <ac:spMk id="11" creationId="{76583F2C-13BC-4FA8-A9DE-F1F764C38F10}"/>
          </ac:spMkLst>
        </pc:spChg>
      </pc:sldChg>
      <pc:sldChg chg="delSp modSp mod ord modNotesTx">
        <pc:chgData name="Henry Jammes" userId="5f22554b-fd15-4676-8c82-dc6122af2a80" providerId="ADAL" clId="{97ED4A04-9D38-4FA7-9FDD-FE1CBB395B77}" dt="2021-03-04T16:22:04.765" v="1464" actId="20577"/>
        <pc:sldMkLst>
          <pc:docMk/>
          <pc:sldMk cId="1741817657" sldId="2076138108"/>
        </pc:sldMkLst>
        <pc:spChg chg="mod">
          <ac:chgData name="Henry Jammes" userId="5f22554b-fd15-4676-8c82-dc6122af2a80" providerId="ADAL" clId="{97ED4A04-9D38-4FA7-9FDD-FE1CBB395B77}" dt="2021-03-03T18:53:30.859" v="981"/>
          <ac:spMkLst>
            <pc:docMk/>
            <pc:sldMk cId="1741817657" sldId="2076138108"/>
            <ac:spMk id="2" creationId="{45010FE8-BF09-4146-B084-66CB05B66FD9}"/>
          </ac:spMkLst>
        </pc:spChg>
        <pc:spChg chg="del">
          <ac:chgData name="Henry Jammes" userId="5f22554b-fd15-4676-8c82-dc6122af2a80" providerId="ADAL" clId="{97ED4A04-9D38-4FA7-9FDD-FE1CBB395B77}" dt="2021-03-04T14:22:27.448" v="1283" actId="478"/>
          <ac:spMkLst>
            <pc:docMk/>
            <pc:sldMk cId="1741817657" sldId="2076138108"/>
            <ac:spMk id="4" creationId="{FFC30DA8-28AD-4462-B2EC-3BC034CF4EB9}"/>
          </ac:spMkLst>
        </pc:spChg>
        <pc:spChg chg="mod">
          <ac:chgData name="Henry Jammes" userId="5f22554b-fd15-4676-8c82-dc6122af2a80" providerId="ADAL" clId="{97ED4A04-9D38-4FA7-9FDD-FE1CBB395B77}" dt="2021-03-04T16:20:44.539" v="1443" actId="20577"/>
          <ac:spMkLst>
            <pc:docMk/>
            <pc:sldMk cId="1741817657" sldId="2076138108"/>
            <ac:spMk id="11" creationId="{76583F2C-13BC-4FA8-A9DE-F1F764C38F10}"/>
          </ac:spMkLst>
        </pc:spChg>
      </pc:sldChg>
      <pc:sldChg chg="addSp delSp modSp add mod chgLayout modNotesTx">
        <pc:chgData name="Henry Jammes" userId="5f22554b-fd15-4676-8c82-dc6122af2a80" providerId="ADAL" clId="{97ED4A04-9D38-4FA7-9FDD-FE1CBB395B77}" dt="2021-03-04T14:20:19.258" v="1258" actId="20577"/>
        <pc:sldMkLst>
          <pc:docMk/>
          <pc:sldMk cId="75109738" sldId="2076138109"/>
        </pc:sldMkLst>
        <pc:spChg chg="mod ord">
          <ac:chgData name="Henry Jammes" userId="5f22554b-fd15-4676-8c82-dc6122af2a80" providerId="ADAL" clId="{97ED4A04-9D38-4FA7-9FDD-FE1CBB395B77}" dt="2021-03-03T17:36:37.686" v="662" actId="6264"/>
          <ac:spMkLst>
            <pc:docMk/>
            <pc:sldMk cId="75109738" sldId="2076138109"/>
            <ac:spMk id="2" creationId="{45010FE8-BF09-4146-B084-66CB05B66FD9}"/>
          </ac:spMkLst>
        </pc:spChg>
        <pc:spChg chg="add del mod">
          <ac:chgData name="Henry Jammes" userId="5f22554b-fd15-4676-8c82-dc6122af2a80" providerId="ADAL" clId="{97ED4A04-9D38-4FA7-9FDD-FE1CBB395B77}" dt="2021-03-03T17:36:37.686" v="662" actId="6264"/>
          <ac:spMkLst>
            <pc:docMk/>
            <pc:sldMk cId="75109738" sldId="2076138109"/>
            <ac:spMk id="3" creationId="{447D0377-BA64-4AC4-ACBC-8CCA1C9640BF}"/>
          </ac:spMkLst>
        </pc:spChg>
        <pc:spChg chg="mod">
          <ac:chgData name="Henry Jammes" userId="5f22554b-fd15-4676-8c82-dc6122af2a80" providerId="ADAL" clId="{97ED4A04-9D38-4FA7-9FDD-FE1CBB395B77}" dt="2021-03-04T14:20:19.258" v="1258" actId="20577"/>
          <ac:spMkLst>
            <pc:docMk/>
            <pc:sldMk cId="75109738" sldId="2076138109"/>
            <ac:spMk id="14" creationId="{60059C99-3F9A-45EA-9F27-CD046AC0C91F}"/>
          </ac:spMkLst>
        </pc:spChg>
        <pc:spChg chg="mod">
          <ac:chgData name="Henry Jammes" userId="5f22554b-fd15-4676-8c82-dc6122af2a80" providerId="ADAL" clId="{97ED4A04-9D38-4FA7-9FDD-FE1CBB395B77}" dt="2021-03-03T18:46:28.561" v="957"/>
          <ac:spMkLst>
            <pc:docMk/>
            <pc:sldMk cId="75109738" sldId="2076138109"/>
            <ac:spMk id="18" creationId="{E25BB912-D68D-430A-9959-5178AF72BEA6}"/>
          </ac:spMkLst>
        </pc:spChg>
      </pc:sldChg>
      <pc:sldChg chg="addSp delSp modSp add mod chgLayout">
        <pc:chgData name="Henry Jammes" userId="5f22554b-fd15-4676-8c82-dc6122af2a80" providerId="ADAL" clId="{97ED4A04-9D38-4FA7-9FDD-FE1CBB395B77}" dt="2021-03-04T14:18:41.808" v="1193" actId="478"/>
        <pc:sldMkLst>
          <pc:docMk/>
          <pc:sldMk cId="2064129829" sldId="2076138110"/>
        </pc:sldMkLst>
        <pc:spChg chg="mod ord">
          <ac:chgData name="Henry Jammes" userId="5f22554b-fd15-4676-8c82-dc6122af2a80" providerId="ADAL" clId="{97ED4A04-9D38-4FA7-9FDD-FE1CBB395B77}" dt="2021-03-04T14:16:07.430" v="1189" actId="20577"/>
          <ac:spMkLst>
            <pc:docMk/>
            <pc:sldMk cId="2064129829" sldId="2076138110"/>
            <ac:spMk id="2" creationId="{45010FE8-BF09-4146-B084-66CB05B66FD9}"/>
          </ac:spMkLst>
        </pc:spChg>
        <pc:spChg chg="add del mod">
          <ac:chgData name="Henry Jammes" userId="5f22554b-fd15-4676-8c82-dc6122af2a80" providerId="ADAL" clId="{97ED4A04-9D38-4FA7-9FDD-FE1CBB395B77}" dt="2021-03-03T17:36:46.607" v="664" actId="6264"/>
          <ac:spMkLst>
            <pc:docMk/>
            <pc:sldMk cId="2064129829" sldId="2076138110"/>
            <ac:spMk id="3" creationId="{4571068D-EEDA-43D1-881E-0149BCCF7385}"/>
          </ac:spMkLst>
        </pc:spChg>
        <pc:spChg chg="add mod">
          <ac:chgData name="Henry Jammes" userId="5f22554b-fd15-4676-8c82-dc6122af2a80" providerId="ADAL" clId="{97ED4A04-9D38-4FA7-9FDD-FE1CBB395B77}" dt="2021-03-04T14:11:14.462" v="1153" actId="6549"/>
          <ac:spMkLst>
            <pc:docMk/>
            <pc:sldMk cId="2064129829" sldId="2076138110"/>
            <ac:spMk id="3" creationId="{5D0ACFF2-CC0F-4377-8D61-5564B008396C}"/>
          </ac:spMkLst>
        </pc:spChg>
        <pc:spChg chg="add del mod">
          <ac:chgData name="Henry Jammes" userId="5f22554b-fd15-4676-8c82-dc6122af2a80" providerId="ADAL" clId="{97ED4A04-9D38-4FA7-9FDD-FE1CBB395B77}" dt="2021-03-04T14:18:41.808" v="1193" actId="478"/>
          <ac:spMkLst>
            <pc:docMk/>
            <pc:sldMk cId="2064129829" sldId="2076138110"/>
            <ac:spMk id="39" creationId="{8F621AA8-922A-423A-A6D9-10752B6EB47C}"/>
          </ac:spMkLst>
        </pc:spChg>
      </pc:sldChg>
      <pc:sldChg chg="addSp delSp modSp add mod chgLayout">
        <pc:chgData name="Henry Jammes" userId="5f22554b-fd15-4676-8c82-dc6122af2a80" providerId="ADAL" clId="{97ED4A04-9D38-4FA7-9FDD-FE1CBB395B77}" dt="2021-03-04T14:11:28.142" v="1160" actId="20577"/>
        <pc:sldMkLst>
          <pc:docMk/>
          <pc:sldMk cId="352920340" sldId="2076138111"/>
        </pc:sldMkLst>
        <pc:spChg chg="mod ord">
          <ac:chgData name="Henry Jammes" userId="5f22554b-fd15-4676-8c82-dc6122af2a80" providerId="ADAL" clId="{97ED4A04-9D38-4FA7-9FDD-FE1CBB395B77}" dt="2021-03-04T14:11:28.142" v="1160" actId="20577"/>
          <ac:spMkLst>
            <pc:docMk/>
            <pc:sldMk cId="352920340" sldId="2076138111"/>
            <ac:spMk id="2" creationId="{45010FE8-BF09-4146-B084-66CB05B66FD9}"/>
          </ac:spMkLst>
        </pc:spChg>
        <pc:spChg chg="add">
          <ac:chgData name="Henry Jammes" userId="5f22554b-fd15-4676-8c82-dc6122af2a80" providerId="ADAL" clId="{97ED4A04-9D38-4FA7-9FDD-FE1CBB395B77}" dt="2021-03-04T14:11:24.127" v="1156" actId="22"/>
          <ac:spMkLst>
            <pc:docMk/>
            <pc:sldMk cId="352920340" sldId="2076138111"/>
            <ac:spMk id="3" creationId="{CE1AA064-F735-447D-8198-DDD0CFFAD310}"/>
          </ac:spMkLst>
        </pc:spChg>
        <pc:spChg chg="add del mod">
          <ac:chgData name="Henry Jammes" userId="5f22554b-fd15-4676-8c82-dc6122af2a80" providerId="ADAL" clId="{97ED4A04-9D38-4FA7-9FDD-FE1CBB395B77}" dt="2021-03-03T17:36:45.339" v="663" actId="6264"/>
          <ac:spMkLst>
            <pc:docMk/>
            <pc:sldMk cId="352920340" sldId="2076138111"/>
            <ac:spMk id="3" creationId="{EF3E128E-0160-4D9C-A8AE-36F9339D71B2}"/>
          </ac:spMkLst>
        </pc:spChg>
      </pc:sldChg>
      <pc:sldChg chg="addSp delSp modSp add mod chgLayout">
        <pc:chgData name="Henry Jammes" userId="5f22554b-fd15-4676-8c82-dc6122af2a80" providerId="ADAL" clId="{97ED4A04-9D38-4FA7-9FDD-FE1CBB395B77}" dt="2021-03-04T14:11:59.741" v="1171" actId="571"/>
        <pc:sldMkLst>
          <pc:docMk/>
          <pc:sldMk cId="2940933816" sldId="2076138112"/>
        </pc:sldMkLst>
        <pc:spChg chg="mod ord">
          <ac:chgData name="Henry Jammes" userId="5f22554b-fd15-4676-8c82-dc6122af2a80" providerId="ADAL" clId="{97ED4A04-9D38-4FA7-9FDD-FE1CBB395B77}" dt="2021-03-04T14:11:35.686" v="1166" actId="14100"/>
          <ac:spMkLst>
            <pc:docMk/>
            <pc:sldMk cId="2940933816" sldId="2076138112"/>
            <ac:spMk id="2" creationId="{45010FE8-BF09-4146-B084-66CB05B66FD9}"/>
          </ac:spMkLst>
        </pc:spChg>
        <pc:spChg chg="add">
          <ac:chgData name="Henry Jammes" userId="5f22554b-fd15-4676-8c82-dc6122af2a80" providerId="ADAL" clId="{97ED4A04-9D38-4FA7-9FDD-FE1CBB395B77}" dt="2021-03-04T14:11:36.294" v="1167" actId="22"/>
          <ac:spMkLst>
            <pc:docMk/>
            <pc:sldMk cId="2940933816" sldId="2076138112"/>
            <ac:spMk id="5" creationId="{33137589-C6A2-4189-B1C6-F24BEE828DCD}"/>
          </ac:spMkLst>
        </pc:spChg>
        <pc:spChg chg="add del mod">
          <ac:chgData name="Henry Jammes" userId="5f22554b-fd15-4676-8c82-dc6122af2a80" providerId="ADAL" clId="{97ED4A04-9D38-4FA7-9FDD-FE1CBB395B77}" dt="2021-03-03T17:36:49.210" v="665" actId="6264"/>
          <ac:spMkLst>
            <pc:docMk/>
            <pc:sldMk cId="2940933816" sldId="2076138112"/>
            <ac:spMk id="5" creationId="{89B736E6-D7B3-468E-B1DC-44D58FD8DFAA}"/>
          </ac:spMkLst>
        </pc:spChg>
        <pc:spChg chg="mod">
          <ac:chgData name="Henry Jammes" userId="5f22554b-fd15-4676-8c82-dc6122af2a80" providerId="ADAL" clId="{97ED4A04-9D38-4FA7-9FDD-FE1CBB395B77}" dt="2021-03-04T14:11:45.536" v="1169" actId="571"/>
          <ac:spMkLst>
            <pc:docMk/>
            <pc:sldMk cId="2940933816" sldId="2076138112"/>
            <ac:spMk id="21" creationId="{47498D99-2405-41D0-88F4-E7A19356FAC3}"/>
          </ac:spMkLst>
        </pc:spChg>
        <pc:spChg chg="mod">
          <ac:chgData name="Henry Jammes" userId="5f22554b-fd15-4676-8c82-dc6122af2a80" providerId="ADAL" clId="{97ED4A04-9D38-4FA7-9FDD-FE1CBB395B77}" dt="2021-03-04T14:11:45.536" v="1169" actId="571"/>
          <ac:spMkLst>
            <pc:docMk/>
            <pc:sldMk cId="2940933816" sldId="2076138112"/>
            <ac:spMk id="22" creationId="{2F4E67E7-0E84-49DE-8BBC-B420D97D955A}"/>
          </ac:spMkLst>
        </pc:spChg>
        <pc:spChg chg="mod">
          <ac:chgData name="Henry Jammes" userId="5f22554b-fd15-4676-8c82-dc6122af2a80" providerId="ADAL" clId="{97ED4A04-9D38-4FA7-9FDD-FE1CBB395B77}" dt="2021-03-04T14:11:59.741" v="1171" actId="571"/>
          <ac:spMkLst>
            <pc:docMk/>
            <pc:sldMk cId="2940933816" sldId="2076138112"/>
            <ac:spMk id="24" creationId="{7601E485-5606-49C0-8F84-D9D7F52849B1}"/>
          </ac:spMkLst>
        </pc:spChg>
        <pc:spChg chg="mod">
          <ac:chgData name="Henry Jammes" userId="5f22554b-fd15-4676-8c82-dc6122af2a80" providerId="ADAL" clId="{97ED4A04-9D38-4FA7-9FDD-FE1CBB395B77}" dt="2021-03-04T14:11:59.741" v="1171" actId="571"/>
          <ac:spMkLst>
            <pc:docMk/>
            <pc:sldMk cId="2940933816" sldId="2076138112"/>
            <ac:spMk id="25" creationId="{82F1733A-AFD1-4876-9854-78A27CE58DB1}"/>
          </ac:spMkLst>
        </pc:spChg>
        <pc:grpChg chg="add mod">
          <ac:chgData name="Henry Jammes" userId="5f22554b-fd15-4676-8c82-dc6122af2a80" providerId="ADAL" clId="{97ED4A04-9D38-4FA7-9FDD-FE1CBB395B77}" dt="2021-03-04T14:11:45.536" v="1169" actId="571"/>
          <ac:grpSpMkLst>
            <pc:docMk/>
            <pc:sldMk cId="2940933816" sldId="2076138112"/>
            <ac:grpSpMk id="20" creationId="{FF85D826-F8CA-494A-A33B-B2BDAF31EF68}"/>
          </ac:grpSpMkLst>
        </pc:grpChg>
        <pc:grpChg chg="add mod">
          <ac:chgData name="Henry Jammes" userId="5f22554b-fd15-4676-8c82-dc6122af2a80" providerId="ADAL" clId="{97ED4A04-9D38-4FA7-9FDD-FE1CBB395B77}" dt="2021-03-04T14:11:59.741" v="1171" actId="571"/>
          <ac:grpSpMkLst>
            <pc:docMk/>
            <pc:sldMk cId="2940933816" sldId="2076138112"/>
            <ac:grpSpMk id="23" creationId="{394B052C-419C-401D-93D8-E49119824CA3}"/>
          </ac:grpSpMkLst>
        </pc:grpChg>
        <pc:grpChg chg="del">
          <ac:chgData name="Henry Jammes" userId="5f22554b-fd15-4676-8c82-dc6122af2a80" providerId="ADAL" clId="{97ED4A04-9D38-4FA7-9FDD-FE1CBB395B77}" dt="2021-03-04T14:11:38.525" v="1168" actId="478"/>
          <ac:grpSpMkLst>
            <pc:docMk/>
            <pc:sldMk cId="2940933816" sldId="2076138112"/>
            <ac:grpSpMk id="47" creationId="{51A6AC64-FFEC-4221-85ED-54F7014F2DD4}"/>
          </ac:grpSpMkLst>
        </pc:grpChg>
        <pc:grpChg chg="del">
          <ac:chgData name="Henry Jammes" userId="5f22554b-fd15-4676-8c82-dc6122af2a80" providerId="ADAL" clId="{97ED4A04-9D38-4FA7-9FDD-FE1CBB395B77}" dt="2021-03-04T14:11:51.726" v="1170" actId="478"/>
          <ac:grpSpMkLst>
            <pc:docMk/>
            <pc:sldMk cId="2940933816" sldId="2076138112"/>
            <ac:grpSpMk id="52" creationId="{63CD983E-EDAA-44BF-B0F1-3655ABD44B4A}"/>
          </ac:grpSpMkLst>
        </pc:grpChg>
      </pc:sldChg>
      <pc:sldChg chg="addSp delSp modSp add mod chgLayout">
        <pc:chgData name="Henry Jammes" userId="5f22554b-fd15-4676-8c82-dc6122af2a80" providerId="ADAL" clId="{97ED4A04-9D38-4FA7-9FDD-FE1CBB395B77}" dt="2021-03-04T14:12:14.787" v="1176" actId="14100"/>
        <pc:sldMkLst>
          <pc:docMk/>
          <pc:sldMk cId="2982360484" sldId="2076138113"/>
        </pc:sldMkLst>
        <pc:spChg chg="mod ord">
          <ac:chgData name="Henry Jammes" userId="5f22554b-fd15-4676-8c82-dc6122af2a80" providerId="ADAL" clId="{97ED4A04-9D38-4FA7-9FDD-FE1CBB395B77}" dt="2021-03-04T14:12:14.787" v="1176" actId="14100"/>
          <ac:spMkLst>
            <pc:docMk/>
            <pc:sldMk cId="2982360484" sldId="2076138113"/>
            <ac:spMk id="2" creationId="{45010FE8-BF09-4146-B084-66CB05B66FD9}"/>
          </ac:spMkLst>
        </pc:spChg>
        <pc:spChg chg="add">
          <ac:chgData name="Henry Jammes" userId="5f22554b-fd15-4676-8c82-dc6122af2a80" providerId="ADAL" clId="{97ED4A04-9D38-4FA7-9FDD-FE1CBB395B77}" dt="2021-03-04T14:12:09.013" v="1172" actId="22"/>
          <ac:spMkLst>
            <pc:docMk/>
            <pc:sldMk cId="2982360484" sldId="2076138113"/>
            <ac:spMk id="5" creationId="{54AB34CD-0B33-428C-B050-F17D9EBA75BC}"/>
          </ac:spMkLst>
        </pc:spChg>
        <pc:spChg chg="add del mod">
          <ac:chgData name="Henry Jammes" userId="5f22554b-fd15-4676-8c82-dc6122af2a80" providerId="ADAL" clId="{97ED4A04-9D38-4FA7-9FDD-FE1CBB395B77}" dt="2021-03-03T17:36:50.111" v="666" actId="6264"/>
          <ac:spMkLst>
            <pc:docMk/>
            <pc:sldMk cId="2982360484" sldId="2076138113"/>
            <ac:spMk id="5" creationId="{96AE1927-9B42-4DBF-9D7B-818D30EB21EC}"/>
          </ac:spMkLst>
        </pc:spChg>
        <pc:spChg chg="mod">
          <ac:chgData name="Henry Jammes" userId="5f22554b-fd15-4676-8c82-dc6122af2a80" providerId="ADAL" clId="{97ED4A04-9D38-4FA7-9FDD-FE1CBB395B77}" dt="2021-03-03T18:55:23.680" v="983" actId="1076"/>
          <ac:spMkLst>
            <pc:docMk/>
            <pc:sldMk cId="2982360484" sldId="2076138113"/>
            <ac:spMk id="27" creationId="{0AA7E48F-B090-4E86-A026-DBC3AECB9CDF}"/>
          </ac:spMkLst>
        </pc:spChg>
      </pc:sldChg>
      <pc:sldChg chg="addSp delSp modSp add mod chgLayout">
        <pc:chgData name="Henry Jammes" userId="5f22554b-fd15-4676-8c82-dc6122af2a80" providerId="ADAL" clId="{97ED4A04-9D38-4FA7-9FDD-FE1CBB395B77}" dt="2021-03-04T14:12:22.663" v="1181" actId="14100"/>
        <pc:sldMkLst>
          <pc:docMk/>
          <pc:sldMk cId="1207913312" sldId="2076138114"/>
        </pc:sldMkLst>
        <pc:spChg chg="mod ord">
          <ac:chgData name="Henry Jammes" userId="5f22554b-fd15-4676-8c82-dc6122af2a80" providerId="ADAL" clId="{97ED4A04-9D38-4FA7-9FDD-FE1CBB395B77}" dt="2021-03-04T14:12:22.663" v="1181" actId="14100"/>
          <ac:spMkLst>
            <pc:docMk/>
            <pc:sldMk cId="1207913312" sldId="2076138114"/>
            <ac:spMk id="2" creationId="{45010FE8-BF09-4146-B084-66CB05B66FD9}"/>
          </ac:spMkLst>
        </pc:spChg>
        <pc:spChg chg="add">
          <ac:chgData name="Henry Jammes" userId="5f22554b-fd15-4676-8c82-dc6122af2a80" providerId="ADAL" clId="{97ED4A04-9D38-4FA7-9FDD-FE1CBB395B77}" dt="2021-03-04T14:12:17.717" v="1177" actId="22"/>
          <ac:spMkLst>
            <pc:docMk/>
            <pc:sldMk cId="1207913312" sldId="2076138114"/>
            <ac:spMk id="5" creationId="{1BA7A6A2-21C0-46D2-BF0D-1FCA1BB1FA09}"/>
          </ac:spMkLst>
        </pc:spChg>
        <pc:spChg chg="add del mod">
          <ac:chgData name="Henry Jammes" userId="5f22554b-fd15-4676-8c82-dc6122af2a80" providerId="ADAL" clId="{97ED4A04-9D38-4FA7-9FDD-FE1CBB395B77}" dt="2021-03-03T17:36:51.166" v="667" actId="6264"/>
          <ac:spMkLst>
            <pc:docMk/>
            <pc:sldMk cId="1207913312" sldId="2076138114"/>
            <ac:spMk id="5" creationId="{FCD1E2ED-10D1-4CCC-9979-A46CC9EFD586}"/>
          </ac:spMkLst>
        </pc:spChg>
      </pc:sldChg>
      <pc:sldChg chg="addSp delSp modSp add mod chgLayout">
        <pc:chgData name="Henry Jammes" userId="5f22554b-fd15-4676-8c82-dc6122af2a80" providerId="ADAL" clId="{97ED4A04-9D38-4FA7-9FDD-FE1CBB395B77}" dt="2021-03-04T14:12:30.186" v="1186" actId="14100"/>
        <pc:sldMkLst>
          <pc:docMk/>
          <pc:sldMk cId="3314065834" sldId="2076138115"/>
        </pc:sldMkLst>
        <pc:spChg chg="mod ord">
          <ac:chgData name="Henry Jammes" userId="5f22554b-fd15-4676-8c82-dc6122af2a80" providerId="ADAL" clId="{97ED4A04-9D38-4FA7-9FDD-FE1CBB395B77}" dt="2021-03-04T14:12:30.186" v="1186" actId="14100"/>
          <ac:spMkLst>
            <pc:docMk/>
            <pc:sldMk cId="3314065834" sldId="2076138115"/>
            <ac:spMk id="2" creationId="{45010FE8-BF09-4146-B084-66CB05B66FD9}"/>
          </ac:spMkLst>
        </pc:spChg>
        <pc:spChg chg="add del mod">
          <ac:chgData name="Henry Jammes" userId="5f22554b-fd15-4676-8c82-dc6122af2a80" providerId="ADAL" clId="{97ED4A04-9D38-4FA7-9FDD-FE1CBB395B77}" dt="2021-03-03T17:36:52.110" v="668" actId="6264"/>
          <ac:spMkLst>
            <pc:docMk/>
            <pc:sldMk cId="3314065834" sldId="2076138115"/>
            <ac:spMk id="3" creationId="{009F7264-9E57-4C15-A3F0-26DF52FF852E}"/>
          </ac:spMkLst>
        </pc:spChg>
        <pc:spChg chg="add">
          <ac:chgData name="Henry Jammes" userId="5f22554b-fd15-4676-8c82-dc6122af2a80" providerId="ADAL" clId="{97ED4A04-9D38-4FA7-9FDD-FE1CBB395B77}" dt="2021-03-04T14:12:25.517" v="1182" actId="22"/>
          <ac:spMkLst>
            <pc:docMk/>
            <pc:sldMk cId="3314065834" sldId="2076138115"/>
            <ac:spMk id="3" creationId="{F82168C8-58C3-47AC-838D-237F7495B393}"/>
          </ac:spMkLst>
        </pc:spChg>
      </pc:sldChg>
      <pc:sldChg chg="addSp delSp modSp add mod chgLayout">
        <pc:chgData name="Henry Jammes" userId="5f22554b-fd15-4676-8c82-dc6122af2a80" providerId="ADAL" clId="{97ED4A04-9D38-4FA7-9FDD-FE1CBB395B77}" dt="2021-03-03T17:36:53.751" v="669" actId="6264"/>
        <pc:sldMkLst>
          <pc:docMk/>
          <pc:sldMk cId="2744808940" sldId="2076138116"/>
        </pc:sldMkLst>
        <pc:spChg chg="mod ord">
          <ac:chgData name="Henry Jammes" userId="5f22554b-fd15-4676-8c82-dc6122af2a80" providerId="ADAL" clId="{97ED4A04-9D38-4FA7-9FDD-FE1CBB395B77}" dt="2021-03-03T17:36:53.751" v="669" actId="6264"/>
          <ac:spMkLst>
            <pc:docMk/>
            <pc:sldMk cId="2744808940" sldId="2076138116"/>
            <ac:spMk id="2" creationId="{45010FE8-BF09-4146-B084-66CB05B66FD9}"/>
          </ac:spMkLst>
        </pc:spChg>
        <pc:spChg chg="add del mod">
          <ac:chgData name="Henry Jammes" userId="5f22554b-fd15-4676-8c82-dc6122af2a80" providerId="ADAL" clId="{97ED4A04-9D38-4FA7-9FDD-FE1CBB395B77}" dt="2021-03-03T17:36:53.751" v="669" actId="6264"/>
          <ac:spMkLst>
            <pc:docMk/>
            <pc:sldMk cId="2744808940" sldId="2076138116"/>
            <ac:spMk id="3" creationId="{C0026C5A-48DA-49DA-A7A5-0A2F22225412}"/>
          </ac:spMkLst>
        </pc:spChg>
        <pc:spChg chg="mod">
          <ac:chgData name="Henry Jammes" userId="5f22554b-fd15-4676-8c82-dc6122af2a80" providerId="ADAL" clId="{97ED4A04-9D38-4FA7-9FDD-FE1CBB395B77}" dt="2021-03-03T17:32:05.596" v="438" actId="20577"/>
          <ac:spMkLst>
            <pc:docMk/>
            <pc:sldMk cId="2744808940" sldId="2076138116"/>
            <ac:spMk id="20" creationId="{8993611A-AF72-44E5-BB38-BEB9A5F83D66}"/>
          </ac:spMkLst>
        </pc:spChg>
      </pc:sldChg>
      <pc:sldChg chg="addSp delSp modSp add del mod ord chgLayout">
        <pc:chgData name="Henry Jammes" userId="5f22554b-fd15-4676-8c82-dc6122af2a80" providerId="ADAL" clId="{97ED4A04-9D38-4FA7-9FDD-FE1CBB395B77}" dt="2021-03-04T14:56:27.498" v="1344" actId="47"/>
        <pc:sldMkLst>
          <pc:docMk/>
          <pc:sldMk cId="64277821" sldId="2076138117"/>
        </pc:sldMkLst>
        <pc:spChg chg="mod ord">
          <ac:chgData name="Henry Jammes" userId="5f22554b-fd15-4676-8c82-dc6122af2a80" providerId="ADAL" clId="{97ED4A04-9D38-4FA7-9FDD-FE1CBB395B77}" dt="2021-03-03T17:36:55.695" v="671" actId="6264"/>
          <ac:spMkLst>
            <pc:docMk/>
            <pc:sldMk cId="64277821" sldId="2076138117"/>
            <ac:spMk id="2" creationId="{45010FE8-BF09-4146-B084-66CB05B66FD9}"/>
          </ac:spMkLst>
        </pc:spChg>
        <pc:spChg chg="add del mod">
          <ac:chgData name="Henry Jammes" userId="5f22554b-fd15-4676-8c82-dc6122af2a80" providerId="ADAL" clId="{97ED4A04-9D38-4FA7-9FDD-FE1CBB395B77}" dt="2021-03-03T17:36:55.695" v="671" actId="6264"/>
          <ac:spMkLst>
            <pc:docMk/>
            <pc:sldMk cId="64277821" sldId="2076138117"/>
            <ac:spMk id="4" creationId="{4D43037F-EEE3-41A6-9405-23E626B713F0}"/>
          </ac:spMkLst>
        </pc:spChg>
        <pc:spChg chg="del">
          <ac:chgData name="Henry Jammes" userId="5f22554b-fd15-4676-8c82-dc6122af2a80" providerId="ADAL" clId="{97ED4A04-9D38-4FA7-9FDD-FE1CBB395B77}" dt="2021-03-04T14:55:49.923" v="1334" actId="478"/>
          <ac:spMkLst>
            <pc:docMk/>
            <pc:sldMk cId="64277821" sldId="2076138117"/>
            <ac:spMk id="34" creationId="{195D9BD3-5BF5-4C37-8A41-13A657BDD01D}"/>
          </ac:spMkLst>
        </pc:spChg>
        <pc:spChg chg="del mod">
          <ac:chgData name="Henry Jammes" userId="5f22554b-fd15-4676-8c82-dc6122af2a80" providerId="ADAL" clId="{97ED4A04-9D38-4FA7-9FDD-FE1CBB395B77}" dt="2021-03-04T14:55:49.923" v="1334" actId="478"/>
          <ac:spMkLst>
            <pc:docMk/>
            <pc:sldMk cId="64277821" sldId="2076138117"/>
            <ac:spMk id="37" creationId="{24778868-41CD-438D-9231-63E8C861182C}"/>
          </ac:spMkLst>
        </pc:spChg>
        <pc:spChg chg="del">
          <ac:chgData name="Henry Jammes" userId="5f22554b-fd15-4676-8c82-dc6122af2a80" providerId="ADAL" clId="{97ED4A04-9D38-4FA7-9FDD-FE1CBB395B77}" dt="2021-03-04T14:55:49.923" v="1334" actId="478"/>
          <ac:spMkLst>
            <pc:docMk/>
            <pc:sldMk cId="64277821" sldId="2076138117"/>
            <ac:spMk id="40" creationId="{2FCD1F09-8989-41D1-80A4-1942ACFC4F39}"/>
          </ac:spMkLst>
        </pc:spChg>
        <pc:spChg chg="del mod">
          <ac:chgData name="Henry Jammes" userId="5f22554b-fd15-4676-8c82-dc6122af2a80" providerId="ADAL" clId="{97ED4A04-9D38-4FA7-9FDD-FE1CBB395B77}" dt="2021-03-04T14:55:49.923" v="1334" actId="478"/>
          <ac:spMkLst>
            <pc:docMk/>
            <pc:sldMk cId="64277821" sldId="2076138117"/>
            <ac:spMk id="42" creationId="{3BA0F5FE-29FC-4F42-8359-C059B52ADAD1}"/>
          </ac:spMkLst>
        </pc:spChg>
        <pc:grpChg chg="del">
          <ac:chgData name="Henry Jammes" userId="5f22554b-fd15-4676-8c82-dc6122af2a80" providerId="ADAL" clId="{97ED4A04-9D38-4FA7-9FDD-FE1CBB395B77}" dt="2021-03-04T14:55:49.923" v="1334" actId="478"/>
          <ac:grpSpMkLst>
            <pc:docMk/>
            <pc:sldMk cId="64277821" sldId="2076138117"/>
            <ac:grpSpMk id="38" creationId="{F2A29650-93FF-4B68-9479-4B66F525C068}"/>
          </ac:grpSpMkLst>
        </pc:grpChg>
        <pc:grpChg chg="del">
          <ac:chgData name="Henry Jammes" userId="5f22554b-fd15-4676-8c82-dc6122af2a80" providerId="ADAL" clId="{97ED4A04-9D38-4FA7-9FDD-FE1CBB395B77}" dt="2021-03-04T14:55:49.923" v="1334" actId="478"/>
          <ac:grpSpMkLst>
            <pc:docMk/>
            <pc:sldMk cId="64277821" sldId="2076138117"/>
            <ac:grpSpMk id="43" creationId="{DFC1B7D8-505B-44B2-AB38-20F04645000F}"/>
          </ac:grpSpMkLst>
        </pc:grpChg>
        <pc:cxnChg chg="del">
          <ac:chgData name="Henry Jammes" userId="5f22554b-fd15-4676-8c82-dc6122af2a80" providerId="ADAL" clId="{97ED4A04-9D38-4FA7-9FDD-FE1CBB395B77}" dt="2021-03-04T14:55:49.923" v="1334" actId="478"/>
          <ac:cxnSpMkLst>
            <pc:docMk/>
            <pc:sldMk cId="64277821" sldId="2076138117"/>
            <ac:cxnSpMk id="57" creationId="{AE67ED4B-1B22-4A0F-954B-7D3F745EF71C}"/>
          </ac:cxnSpMkLst>
        </pc:cxnChg>
      </pc:sldChg>
      <pc:sldChg chg="modSp add del mod ord">
        <pc:chgData name="Henry Jammes" userId="5f22554b-fd15-4676-8c82-dc6122af2a80" providerId="ADAL" clId="{97ED4A04-9D38-4FA7-9FDD-FE1CBB395B77}" dt="2021-03-04T16:22:06.552" v="1465" actId="47"/>
        <pc:sldMkLst>
          <pc:docMk/>
          <pc:sldMk cId="866500365" sldId="2076138118"/>
        </pc:sldMkLst>
        <pc:spChg chg="mod">
          <ac:chgData name="Henry Jammes" userId="5f22554b-fd15-4676-8c82-dc6122af2a80" providerId="ADAL" clId="{97ED4A04-9D38-4FA7-9FDD-FE1CBB395B77}" dt="2021-03-04T16:21:12.458" v="1446" actId="21"/>
          <ac:spMkLst>
            <pc:docMk/>
            <pc:sldMk cId="866500365" sldId="2076138118"/>
            <ac:spMk id="42" creationId="{3BA0F5FE-29FC-4F42-8359-C059B52ADAD1}"/>
          </ac:spMkLst>
        </pc:spChg>
      </pc:sldChg>
      <pc:sldChg chg="addSp delSp modSp add mod chgLayout modNotesTx">
        <pc:chgData name="Henry Jammes" userId="5f22554b-fd15-4676-8c82-dc6122af2a80" providerId="ADAL" clId="{97ED4A04-9D38-4FA7-9FDD-FE1CBB395B77}" dt="2021-03-04T16:23:31.364" v="1468"/>
        <pc:sldMkLst>
          <pc:docMk/>
          <pc:sldMk cId="2392676120" sldId="2076138119"/>
        </pc:sldMkLst>
        <pc:spChg chg="mod ord">
          <ac:chgData name="Henry Jammes" userId="5f22554b-fd15-4676-8c82-dc6122af2a80" providerId="ADAL" clId="{97ED4A04-9D38-4FA7-9FDD-FE1CBB395B77}" dt="2021-03-04T14:22:35.123" v="1285" actId="6264"/>
          <ac:spMkLst>
            <pc:docMk/>
            <pc:sldMk cId="2392676120" sldId="2076138119"/>
            <ac:spMk id="2" creationId="{45010FE8-BF09-4146-B084-66CB05B66FD9}"/>
          </ac:spMkLst>
        </pc:spChg>
        <pc:spChg chg="add del mod">
          <ac:chgData name="Henry Jammes" userId="5f22554b-fd15-4676-8c82-dc6122af2a80" providerId="ADAL" clId="{97ED4A04-9D38-4FA7-9FDD-FE1CBB395B77}" dt="2021-03-04T14:22:35.123" v="1285" actId="6264"/>
          <ac:spMkLst>
            <pc:docMk/>
            <pc:sldMk cId="2392676120" sldId="2076138119"/>
            <ac:spMk id="3" creationId="{B8B5C296-2B47-4BB2-A395-9F27864028E6}"/>
          </ac:spMkLst>
        </pc:spChg>
      </pc:sldChg>
      <pc:sldChg chg="addSp delSp modSp add del mod ord chgLayout">
        <pc:chgData name="Henry Jammes" userId="5f22554b-fd15-4676-8c82-dc6122af2a80" providerId="ADAL" clId="{97ED4A04-9D38-4FA7-9FDD-FE1CBB395B77}" dt="2021-03-04T16:49:57.427" v="1484" actId="47"/>
        <pc:sldMkLst>
          <pc:docMk/>
          <pc:sldMk cId="1719923603" sldId="2076138120"/>
        </pc:sldMkLst>
        <pc:spChg chg="mod ord">
          <ac:chgData name="Henry Jammes" userId="5f22554b-fd15-4676-8c82-dc6122af2a80" providerId="ADAL" clId="{97ED4A04-9D38-4FA7-9FDD-FE1CBB395B77}" dt="2021-03-04T16:23:52.182" v="1470" actId="6264"/>
          <ac:spMkLst>
            <pc:docMk/>
            <pc:sldMk cId="1719923603" sldId="2076138120"/>
            <ac:spMk id="2" creationId="{45010FE8-BF09-4146-B084-66CB05B66FD9}"/>
          </ac:spMkLst>
        </pc:spChg>
        <pc:spChg chg="add del mod">
          <ac:chgData name="Henry Jammes" userId="5f22554b-fd15-4676-8c82-dc6122af2a80" providerId="ADAL" clId="{97ED4A04-9D38-4FA7-9FDD-FE1CBB395B77}" dt="2021-03-04T16:23:52.182" v="1470" actId="6264"/>
          <ac:spMkLst>
            <pc:docMk/>
            <pc:sldMk cId="1719923603" sldId="2076138120"/>
            <ac:spMk id="4" creationId="{62C22A23-0BCD-4E04-A2E3-C75646EA5364}"/>
          </ac:spMkLst>
        </pc:spChg>
      </pc:sldChg>
      <pc:sldChg chg="add del">
        <pc:chgData name="Henry Jammes" userId="5f22554b-fd15-4676-8c82-dc6122af2a80" providerId="ADAL" clId="{97ED4A04-9D38-4FA7-9FDD-FE1CBB395B77}" dt="2021-03-04T16:50:54.536" v="1492" actId="47"/>
        <pc:sldMkLst>
          <pc:docMk/>
          <pc:sldMk cId="2520357449" sldId="2076138121"/>
        </pc:sldMkLst>
      </pc:sldChg>
      <pc:sldChg chg="modSp add del mod">
        <pc:chgData name="Henry Jammes" userId="5f22554b-fd15-4676-8c82-dc6122af2a80" providerId="ADAL" clId="{97ED4A04-9D38-4FA7-9FDD-FE1CBB395B77}" dt="2021-03-03T18:19:18.788" v="842" actId="18676"/>
        <pc:sldMkLst>
          <pc:docMk/>
          <pc:sldMk cId="2218951812" sldId="2076138122"/>
        </pc:sldMkLst>
        <pc:spChg chg="mod">
          <ac:chgData name="Henry Jammes" userId="5f22554b-fd15-4676-8c82-dc6122af2a80" providerId="ADAL" clId="{97ED4A04-9D38-4FA7-9FDD-FE1CBB395B77}" dt="2021-03-03T17:48:53.697" v="691"/>
          <ac:spMkLst>
            <pc:docMk/>
            <pc:sldMk cId="2218951812" sldId="2076138122"/>
            <ac:spMk id="5" creationId="{E7503F64-CFA9-4B15-BBFB-8E55D5867F21}"/>
          </ac:spMkLst>
        </pc:spChg>
      </pc:sldChg>
      <pc:sldChg chg="modSp add mod">
        <pc:chgData name="Henry Jammes" userId="5f22554b-fd15-4676-8c82-dc6122af2a80" providerId="ADAL" clId="{97ED4A04-9D38-4FA7-9FDD-FE1CBB395B77}" dt="2021-03-03T18:17:54.533" v="835" actId="20577"/>
        <pc:sldMkLst>
          <pc:docMk/>
          <pc:sldMk cId="2184151989" sldId="2076138123"/>
        </pc:sldMkLst>
        <pc:spChg chg="mod">
          <ac:chgData name="Henry Jammes" userId="5f22554b-fd15-4676-8c82-dc6122af2a80" providerId="ADAL" clId="{97ED4A04-9D38-4FA7-9FDD-FE1CBB395B77}" dt="2021-03-03T18:17:54.533" v="835" actId="20577"/>
          <ac:spMkLst>
            <pc:docMk/>
            <pc:sldMk cId="2184151989" sldId="2076138123"/>
            <ac:spMk id="4" creationId="{256811CF-363F-415B-BDDC-702D196043BC}"/>
          </ac:spMkLst>
        </pc:spChg>
      </pc:sldChg>
      <pc:sldChg chg="modSp add mod">
        <pc:chgData name="Henry Jammes" userId="5f22554b-fd15-4676-8c82-dc6122af2a80" providerId="ADAL" clId="{97ED4A04-9D38-4FA7-9FDD-FE1CBB395B77}" dt="2021-03-03T18:26:09.359" v="848"/>
        <pc:sldMkLst>
          <pc:docMk/>
          <pc:sldMk cId="3680393441" sldId="2076138124"/>
        </pc:sldMkLst>
        <pc:spChg chg="mod">
          <ac:chgData name="Henry Jammes" userId="5f22554b-fd15-4676-8c82-dc6122af2a80" providerId="ADAL" clId="{97ED4A04-9D38-4FA7-9FDD-FE1CBB395B77}" dt="2021-03-03T18:26:09.359" v="848"/>
          <ac:spMkLst>
            <pc:docMk/>
            <pc:sldMk cId="3680393441" sldId="2076138124"/>
            <ac:spMk id="4" creationId="{D4A6C5B7-1FF9-40ED-B5CF-C60C02256475}"/>
          </ac:spMkLst>
        </pc:spChg>
      </pc:sldChg>
      <pc:sldChg chg="delSp modSp add mod modNotesTx">
        <pc:chgData name="Henry Jammes" userId="5f22554b-fd15-4676-8c82-dc6122af2a80" providerId="ADAL" clId="{97ED4A04-9D38-4FA7-9FDD-FE1CBB395B77}" dt="2021-03-04T16:49:46.908" v="1483"/>
        <pc:sldMkLst>
          <pc:docMk/>
          <pc:sldMk cId="314067589" sldId="2076138125"/>
        </pc:sldMkLst>
        <pc:spChg chg="mod">
          <ac:chgData name="Henry Jammes" userId="5f22554b-fd15-4676-8c82-dc6122af2a80" providerId="ADAL" clId="{97ED4A04-9D38-4FA7-9FDD-FE1CBB395B77}" dt="2021-03-04T16:49:11.455" v="1472"/>
          <ac:spMkLst>
            <pc:docMk/>
            <pc:sldMk cId="314067589" sldId="2076138125"/>
            <ac:spMk id="2" creationId="{45010FE8-BF09-4146-B084-66CB05B66FD9}"/>
          </ac:spMkLst>
        </pc:spChg>
        <pc:spChg chg="del">
          <ac:chgData name="Henry Jammes" userId="5f22554b-fd15-4676-8c82-dc6122af2a80" providerId="ADAL" clId="{97ED4A04-9D38-4FA7-9FDD-FE1CBB395B77}" dt="2021-03-04T16:49:12.850" v="1473" actId="478"/>
          <ac:spMkLst>
            <pc:docMk/>
            <pc:sldMk cId="314067589" sldId="2076138125"/>
            <ac:spMk id="5" creationId="{54AB34CD-0B33-428C-B050-F17D9EBA75BC}"/>
          </ac:spMkLst>
        </pc:spChg>
        <pc:spChg chg="mod">
          <ac:chgData name="Henry Jammes" userId="5f22554b-fd15-4676-8c82-dc6122af2a80" providerId="ADAL" clId="{97ED4A04-9D38-4FA7-9FDD-FE1CBB395B77}" dt="2021-03-04T16:49:41.276" v="1482" actId="1076"/>
          <ac:spMkLst>
            <pc:docMk/>
            <pc:sldMk cId="314067589" sldId="2076138125"/>
            <ac:spMk id="14" creationId="{EA8CC3DD-14C4-4EA0-8823-0A8FF631C7A4}"/>
          </ac:spMkLst>
        </pc:spChg>
        <pc:spChg chg="mod">
          <ac:chgData name="Henry Jammes" userId="5f22554b-fd15-4676-8c82-dc6122af2a80" providerId="ADAL" clId="{97ED4A04-9D38-4FA7-9FDD-FE1CBB395B77}" dt="2021-03-04T16:49:23.436" v="1475"/>
          <ac:spMkLst>
            <pc:docMk/>
            <pc:sldMk cId="314067589" sldId="2076138125"/>
            <ac:spMk id="19" creationId="{0D5AF570-E4AB-44EC-87E3-84709047A6E4}"/>
          </ac:spMkLst>
        </pc:spChg>
        <pc:spChg chg="mod">
          <ac:chgData name="Henry Jammes" userId="5f22554b-fd15-4676-8c82-dc6122af2a80" providerId="ADAL" clId="{97ED4A04-9D38-4FA7-9FDD-FE1CBB395B77}" dt="2021-03-04T16:49:18.393" v="1474"/>
          <ac:spMkLst>
            <pc:docMk/>
            <pc:sldMk cId="314067589" sldId="2076138125"/>
            <ac:spMk id="20" creationId="{8993611A-AF72-44E5-BB38-BEB9A5F83D66}"/>
          </ac:spMkLst>
        </pc:spChg>
        <pc:spChg chg="mod">
          <ac:chgData name="Henry Jammes" userId="5f22554b-fd15-4676-8c82-dc6122af2a80" providerId="ADAL" clId="{97ED4A04-9D38-4FA7-9FDD-FE1CBB395B77}" dt="2021-03-04T16:49:30.164" v="1476"/>
          <ac:spMkLst>
            <pc:docMk/>
            <pc:sldMk cId="314067589" sldId="2076138125"/>
            <ac:spMk id="27" creationId="{0AA7E48F-B090-4E86-A026-DBC3AECB9CDF}"/>
          </ac:spMkLst>
        </pc:spChg>
        <pc:spChg chg="mod">
          <ac:chgData name="Henry Jammes" userId="5f22554b-fd15-4676-8c82-dc6122af2a80" providerId="ADAL" clId="{97ED4A04-9D38-4FA7-9FDD-FE1CBB395B77}" dt="2021-03-04T16:49:35.536" v="1478" actId="120"/>
          <ac:spMkLst>
            <pc:docMk/>
            <pc:sldMk cId="314067589" sldId="2076138125"/>
            <ac:spMk id="33" creationId="{4E6833D9-B8E8-4E22-A3C4-9785A26C6D3C}"/>
          </ac:spMkLst>
        </pc:spChg>
        <pc:spChg chg="mod">
          <ac:chgData name="Henry Jammes" userId="5f22554b-fd15-4676-8c82-dc6122af2a80" providerId="ADAL" clId="{97ED4A04-9D38-4FA7-9FDD-FE1CBB395B77}" dt="2021-03-04T16:49:37.698" v="1479"/>
          <ac:spMkLst>
            <pc:docMk/>
            <pc:sldMk cId="314067589" sldId="2076138125"/>
            <ac:spMk id="40" creationId="{2FCD1F09-8989-41D1-80A4-1942ACFC4F39}"/>
          </ac:spMkLst>
        </pc:spChg>
      </pc:sldChg>
      <pc:sldChg chg="modSp add mod modNotesTx">
        <pc:chgData name="Henry Jammes" userId="5f22554b-fd15-4676-8c82-dc6122af2a80" providerId="ADAL" clId="{97ED4A04-9D38-4FA7-9FDD-FE1CBB395B77}" dt="2021-03-04T16:50:43.616" v="1491"/>
        <pc:sldMkLst>
          <pc:docMk/>
          <pc:sldMk cId="930985255" sldId="2076138126"/>
        </pc:sldMkLst>
        <pc:spChg chg="mod">
          <ac:chgData name="Henry Jammes" userId="5f22554b-fd15-4676-8c82-dc6122af2a80" providerId="ADAL" clId="{97ED4A04-9D38-4FA7-9FDD-FE1CBB395B77}" dt="2021-03-04T16:50:22.989" v="1488"/>
          <ac:spMkLst>
            <pc:docMk/>
            <pc:sldMk cId="930985255" sldId="2076138126"/>
            <ac:spMk id="2" creationId="{45010FE8-BF09-4146-B084-66CB05B66FD9}"/>
          </ac:spMkLst>
        </pc:spChg>
        <pc:spChg chg="mod">
          <ac:chgData name="Henry Jammes" userId="5f22554b-fd15-4676-8c82-dc6122af2a80" providerId="ADAL" clId="{97ED4A04-9D38-4FA7-9FDD-FE1CBB395B77}" dt="2021-03-04T16:50:29.061" v="1489"/>
          <ac:spMkLst>
            <pc:docMk/>
            <pc:sldMk cId="930985255" sldId="2076138126"/>
            <ac:spMk id="19" creationId="{0D5AF570-E4AB-44EC-87E3-84709047A6E4}"/>
          </ac:spMkLst>
        </pc:spChg>
        <pc:spChg chg="mod">
          <ac:chgData name="Henry Jammes" userId="5f22554b-fd15-4676-8c82-dc6122af2a80" providerId="ADAL" clId="{97ED4A04-9D38-4FA7-9FDD-FE1CBB395B77}" dt="2021-03-04T16:50:18.376" v="1487"/>
          <ac:spMkLst>
            <pc:docMk/>
            <pc:sldMk cId="930985255" sldId="2076138126"/>
            <ac:spMk id="20" creationId="{8993611A-AF72-44E5-BB38-BEB9A5F83D66}"/>
          </ac:spMkLst>
        </pc:spChg>
        <pc:spChg chg="mod">
          <ac:chgData name="Henry Jammes" userId="5f22554b-fd15-4676-8c82-dc6122af2a80" providerId="ADAL" clId="{97ED4A04-9D38-4FA7-9FDD-FE1CBB395B77}" dt="2021-03-04T16:50:36.061" v="1490"/>
          <ac:spMkLst>
            <pc:docMk/>
            <pc:sldMk cId="930985255" sldId="2076138126"/>
            <ac:spMk id="27" creationId="{0AA7E48F-B090-4E86-A026-DBC3AECB9CDF}"/>
          </ac:spMkLst>
        </pc:spChg>
      </pc:sldChg>
      <pc:sldMasterChg chg="delSp modSp mod addSldLayout delSldLayout">
        <pc:chgData name="Henry Jammes" userId="5f22554b-fd15-4676-8c82-dc6122af2a80" providerId="ADAL" clId="{97ED4A04-9D38-4FA7-9FDD-FE1CBB395B77}" dt="2021-03-04T16:58:08.021" v="1880" actId="404"/>
        <pc:sldMasterMkLst>
          <pc:docMk/>
          <pc:sldMasterMk cId="3588427678" sldId="2147484229"/>
        </pc:sldMasterMkLst>
        <pc:spChg chg="mod">
          <ac:chgData name="Henry Jammes" userId="5f22554b-fd15-4676-8c82-dc6122af2a80" providerId="ADAL" clId="{97ED4A04-9D38-4FA7-9FDD-FE1CBB395B77}" dt="2021-03-04T16:58:08.021" v="1880" actId="404"/>
          <ac:spMkLst>
            <pc:docMk/>
            <pc:sldMasterMk cId="3588427678" sldId="2147484229"/>
            <ac:spMk id="6" creationId="{7C672AED-C10B-487D-A34A-26B25326A601}"/>
          </ac:spMkLst>
        </pc:spChg>
        <pc:picChg chg="del">
          <ac:chgData name="Henry Jammes" userId="5f22554b-fd15-4676-8c82-dc6122af2a80" providerId="ADAL" clId="{97ED4A04-9D38-4FA7-9FDD-FE1CBB395B77}" dt="2021-03-03T16:18:56.945" v="1" actId="478"/>
          <ac:picMkLst>
            <pc:docMk/>
            <pc:sldMasterMk cId="3588427678" sldId="2147484229"/>
            <ac:picMk id="49" creationId="{B36951B0-9DD1-9642-A782-90F1E7DB8FAA}"/>
          </ac:picMkLst>
        </pc:picChg>
        <pc:sldLayoutChg chg="del">
          <pc:chgData name="Henry Jammes" userId="5f22554b-fd15-4676-8c82-dc6122af2a80" providerId="ADAL" clId="{97ED4A04-9D38-4FA7-9FDD-FE1CBB395B77}" dt="2021-03-04T16:56:56.192" v="1861" actId="2696"/>
          <pc:sldLayoutMkLst>
            <pc:docMk/>
            <pc:sldMasterMk cId="3588427678" sldId="2147484229"/>
            <pc:sldLayoutMk cId="1531337368" sldId="2147484240"/>
          </pc:sldLayoutMkLst>
        </pc:sldLayoutChg>
        <pc:sldLayoutChg chg="del">
          <pc:chgData name="Henry Jammes" userId="5f22554b-fd15-4676-8c82-dc6122af2a80" providerId="ADAL" clId="{97ED4A04-9D38-4FA7-9FDD-FE1CBB395B77}" dt="2021-03-04T16:57:00.991" v="1870" actId="2696"/>
          <pc:sldLayoutMkLst>
            <pc:docMk/>
            <pc:sldMasterMk cId="3588427678" sldId="2147484229"/>
            <pc:sldLayoutMk cId="3897602530" sldId="2147484249"/>
          </pc:sldLayoutMkLst>
        </pc:sldLayoutChg>
        <pc:sldLayoutChg chg="del">
          <pc:chgData name="Henry Jammes" userId="5f22554b-fd15-4676-8c82-dc6122af2a80" providerId="ADAL" clId="{97ED4A04-9D38-4FA7-9FDD-FE1CBB395B77}" dt="2021-03-04T16:56:41.954" v="1859" actId="2696"/>
          <pc:sldLayoutMkLst>
            <pc:docMk/>
            <pc:sldMasterMk cId="3588427678" sldId="2147484229"/>
            <pc:sldLayoutMk cId="3482969643" sldId="2147484263"/>
          </pc:sldLayoutMkLst>
        </pc:sldLayoutChg>
        <pc:sldLayoutChg chg="del">
          <pc:chgData name="Henry Jammes" userId="5f22554b-fd15-4676-8c82-dc6122af2a80" providerId="ADAL" clId="{97ED4A04-9D38-4FA7-9FDD-FE1CBB395B77}" dt="2021-03-04T16:57:00.137" v="1868" actId="2696"/>
          <pc:sldLayoutMkLst>
            <pc:docMk/>
            <pc:sldMasterMk cId="3588427678" sldId="2147484229"/>
            <pc:sldLayoutMk cId="925069136" sldId="2147484299"/>
          </pc:sldLayoutMkLst>
        </pc:sldLayoutChg>
        <pc:sldLayoutChg chg="del">
          <pc:chgData name="Henry Jammes" userId="5f22554b-fd15-4676-8c82-dc6122af2a80" providerId="ADAL" clId="{97ED4A04-9D38-4FA7-9FDD-FE1CBB395B77}" dt="2021-03-04T16:57:02.146" v="1873" actId="2696"/>
          <pc:sldLayoutMkLst>
            <pc:docMk/>
            <pc:sldMasterMk cId="3588427678" sldId="2147484229"/>
            <pc:sldLayoutMk cId="1938504317" sldId="2147484577"/>
          </pc:sldLayoutMkLst>
        </pc:sldLayoutChg>
        <pc:sldLayoutChg chg="del">
          <pc:chgData name="Henry Jammes" userId="5f22554b-fd15-4676-8c82-dc6122af2a80" providerId="ADAL" clId="{97ED4A04-9D38-4FA7-9FDD-FE1CBB395B77}" dt="2021-03-03T18:31:24.409" v="885" actId="2696"/>
          <pc:sldLayoutMkLst>
            <pc:docMk/>
            <pc:sldMasterMk cId="3588427678" sldId="2147484229"/>
            <pc:sldLayoutMk cId="3017430946" sldId="2147484580"/>
          </pc:sldLayoutMkLst>
        </pc:sldLayoutChg>
        <pc:sldLayoutChg chg="del">
          <pc:chgData name="Henry Jammes" userId="5f22554b-fd15-4676-8c82-dc6122af2a80" providerId="ADAL" clId="{97ED4A04-9D38-4FA7-9FDD-FE1CBB395B77}" dt="2021-03-04T16:56:57.796" v="1867" actId="2696"/>
          <pc:sldLayoutMkLst>
            <pc:docMk/>
            <pc:sldMasterMk cId="3588427678" sldId="2147484229"/>
            <pc:sldLayoutMk cId="3343058790" sldId="2147484585"/>
          </pc:sldLayoutMkLst>
        </pc:sldLayoutChg>
        <pc:sldLayoutChg chg="del">
          <pc:chgData name="Henry Jammes" userId="5f22554b-fd15-4676-8c82-dc6122af2a80" providerId="ADAL" clId="{97ED4A04-9D38-4FA7-9FDD-FE1CBB395B77}" dt="2021-03-04T16:56:56.628" v="1863" actId="2696"/>
          <pc:sldLayoutMkLst>
            <pc:docMk/>
            <pc:sldMasterMk cId="3588427678" sldId="2147484229"/>
            <pc:sldLayoutMk cId="3243858526" sldId="2147484603"/>
          </pc:sldLayoutMkLst>
        </pc:sldLayoutChg>
        <pc:sldLayoutChg chg="add del">
          <pc:chgData name="Henry Jammes" userId="5f22554b-fd15-4676-8c82-dc6122af2a80" providerId="ADAL" clId="{97ED4A04-9D38-4FA7-9FDD-FE1CBB395B77}" dt="2021-03-04T16:56:29.627" v="1809" actId="2696"/>
          <pc:sldLayoutMkLst>
            <pc:docMk/>
            <pc:sldMasterMk cId="3588427678" sldId="2147484229"/>
            <pc:sldLayoutMk cId="1605435431" sldId="2147484609"/>
          </pc:sldLayoutMkLst>
        </pc:sldLayoutChg>
        <pc:sldLayoutChg chg="del">
          <pc:chgData name="Henry Jammes" userId="5f22554b-fd15-4676-8c82-dc6122af2a80" providerId="ADAL" clId="{97ED4A04-9D38-4FA7-9FDD-FE1CBB395B77}" dt="2021-03-04T16:56:55.899" v="1860" actId="2696"/>
          <pc:sldLayoutMkLst>
            <pc:docMk/>
            <pc:sldMasterMk cId="3588427678" sldId="2147484229"/>
            <pc:sldLayoutMk cId="1849598128" sldId="2147484610"/>
          </pc:sldLayoutMkLst>
        </pc:sldLayoutChg>
        <pc:sldLayoutChg chg="del">
          <pc:chgData name="Henry Jammes" userId="5f22554b-fd15-4676-8c82-dc6122af2a80" providerId="ADAL" clId="{97ED4A04-9D38-4FA7-9FDD-FE1CBB395B77}" dt="2021-03-04T16:56:56.988" v="1865" actId="2696"/>
          <pc:sldLayoutMkLst>
            <pc:docMk/>
            <pc:sldMasterMk cId="3588427678" sldId="2147484229"/>
            <pc:sldLayoutMk cId="774405555" sldId="2147484640"/>
          </pc:sldLayoutMkLst>
        </pc:sldLayoutChg>
        <pc:sldLayoutChg chg="del">
          <pc:chgData name="Henry Jammes" userId="5f22554b-fd15-4676-8c82-dc6122af2a80" providerId="ADAL" clId="{97ED4A04-9D38-4FA7-9FDD-FE1CBB395B77}" dt="2021-03-04T16:56:57.571" v="1866" actId="2696"/>
          <pc:sldLayoutMkLst>
            <pc:docMk/>
            <pc:sldMasterMk cId="3588427678" sldId="2147484229"/>
            <pc:sldLayoutMk cId="545705601" sldId="2147484671"/>
          </pc:sldLayoutMkLst>
        </pc:sldLayoutChg>
        <pc:sldLayoutChg chg="del">
          <pc:chgData name="Henry Jammes" userId="5f22554b-fd15-4676-8c82-dc6122af2a80" providerId="ADAL" clId="{97ED4A04-9D38-4FA7-9FDD-FE1CBB395B77}" dt="2021-03-04T16:57:00.347" v="1869" actId="2696"/>
          <pc:sldLayoutMkLst>
            <pc:docMk/>
            <pc:sldMasterMk cId="3588427678" sldId="2147484229"/>
            <pc:sldLayoutMk cId="2648787845" sldId="2147484673"/>
          </pc:sldLayoutMkLst>
        </pc:sldLayoutChg>
        <pc:sldLayoutChg chg="del">
          <pc:chgData name="Henry Jammes" userId="5f22554b-fd15-4676-8c82-dc6122af2a80" providerId="ADAL" clId="{97ED4A04-9D38-4FA7-9FDD-FE1CBB395B77}" dt="2021-03-04T16:56:56.807" v="1864" actId="2696"/>
          <pc:sldLayoutMkLst>
            <pc:docMk/>
            <pc:sldMasterMk cId="3588427678" sldId="2147484229"/>
            <pc:sldLayoutMk cId="1165025546" sldId="2147484787"/>
          </pc:sldLayoutMkLst>
        </pc:sldLayoutChg>
        <pc:sldLayoutChg chg="del">
          <pc:chgData name="Henry Jammes" userId="5f22554b-fd15-4676-8c82-dc6122af2a80" providerId="ADAL" clId="{97ED4A04-9D38-4FA7-9FDD-FE1CBB395B77}" dt="2021-03-04T16:56:15.527" v="1792" actId="2696"/>
          <pc:sldLayoutMkLst>
            <pc:docMk/>
            <pc:sldMasterMk cId="3588427678" sldId="2147484229"/>
            <pc:sldLayoutMk cId="1948112344" sldId="2147484833"/>
          </pc:sldLayoutMkLst>
        </pc:sldLayoutChg>
        <pc:sldLayoutChg chg="del">
          <pc:chgData name="Henry Jammes" userId="5f22554b-fd15-4676-8c82-dc6122af2a80" providerId="ADAL" clId="{97ED4A04-9D38-4FA7-9FDD-FE1CBB395B77}" dt="2021-03-04T16:56:16.008" v="1793" actId="2696"/>
          <pc:sldLayoutMkLst>
            <pc:docMk/>
            <pc:sldMasterMk cId="3588427678" sldId="2147484229"/>
            <pc:sldLayoutMk cId="2651151599" sldId="2147484834"/>
          </pc:sldLayoutMkLst>
        </pc:sldLayoutChg>
        <pc:sldLayoutChg chg="del">
          <pc:chgData name="Henry Jammes" userId="5f22554b-fd15-4676-8c82-dc6122af2a80" providerId="ADAL" clId="{97ED4A04-9D38-4FA7-9FDD-FE1CBB395B77}" dt="2021-03-04T16:56:16.390" v="1794" actId="2696"/>
          <pc:sldLayoutMkLst>
            <pc:docMk/>
            <pc:sldMasterMk cId="3588427678" sldId="2147484229"/>
            <pc:sldLayoutMk cId="1335627901" sldId="2147484835"/>
          </pc:sldLayoutMkLst>
        </pc:sldLayoutChg>
        <pc:sldLayoutChg chg="del">
          <pc:chgData name="Henry Jammes" userId="5f22554b-fd15-4676-8c82-dc6122af2a80" providerId="ADAL" clId="{97ED4A04-9D38-4FA7-9FDD-FE1CBB395B77}" dt="2021-03-04T16:56:23.109" v="1801" actId="2696"/>
          <pc:sldLayoutMkLst>
            <pc:docMk/>
            <pc:sldMasterMk cId="3588427678" sldId="2147484229"/>
            <pc:sldLayoutMk cId="1390838193" sldId="2147484839"/>
          </pc:sldLayoutMkLst>
        </pc:sldLayoutChg>
        <pc:sldLayoutChg chg="del">
          <pc:chgData name="Henry Jammes" userId="5f22554b-fd15-4676-8c82-dc6122af2a80" providerId="ADAL" clId="{97ED4A04-9D38-4FA7-9FDD-FE1CBB395B77}" dt="2021-03-04T16:56:23.123" v="1802" actId="2696"/>
          <pc:sldLayoutMkLst>
            <pc:docMk/>
            <pc:sldMasterMk cId="3588427678" sldId="2147484229"/>
            <pc:sldLayoutMk cId="1725136582" sldId="2147484840"/>
          </pc:sldLayoutMkLst>
        </pc:sldLayoutChg>
        <pc:sldLayoutChg chg="del">
          <pc:chgData name="Henry Jammes" userId="5f22554b-fd15-4676-8c82-dc6122af2a80" providerId="ADAL" clId="{97ED4A04-9D38-4FA7-9FDD-FE1CBB395B77}" dt="2021-03-04T16:56:23.137" v="1803" actId="2696"/>
          <pc:sldLayoutMkLst>
            <pc:docMk/>
            <pc:sldMasterMk cId="3588427678" sldId="2147484229"/>
            <pc:sldLayoutMk cId="646059488" sldId="2147484841"/>
          </pc:sldLayoutMkLst>
        </pc:sldLayoutChg>
        <pc:sldLayoutChg chg="del">
          <pc:chgData name="Henry Jammes" userId="5f22554b-fd15-4676-8c82-dc6122af2a80" providerId="ADAL" clId="{97ED4A04-9D38-4FA7-9FDD-FE1CBB395B77}" dt="2021-03-04T16:56:23.147" v="1804" actId="2696"/>
          <pc:sldLayoutMkLst>
            <pc:docMk/>
            <pc:sldMasterMk cId="3588427678" sldId="2147484229"/>
            <pc:sldLayoutMk cId="842252135" sldId="2147484842"/>
          </pc:sldLayoutMkLst>
        </pc:sldLayoutChg>
        <pc:sldLayoutChg chg="del">
          <pc:chgData name="Henry Jammes" userId="5f22554b-fd15-4676-8c82-dc6122af2a80" providerId="ADAL" clId="{97ED4A04-9D38-4FA7-9FDD-FE1CBB395B77}" dt="2021-03-04T16:56:23.166" v="1805" actId="2696"/>
          <pc:sldLayoutMkLst>
            <pc:docMk/>
            <pc:sldMasterMk cId="3588427678" sldId="2147484229"/>
            <pc:sldLayoutMk cId="3474357050" sldId="2147484843"/>
          </pc:sldLayoutMkLst>
        </pc:sldLayoutChg>
        <pc:sldLayoutChg chg="del">
          <pc:chgData name="Henry Jammes" userId="5f22554b-fd15-4676-8c82-dc6122af2a80" providerId="ADAL" clId="{97ED4A04-9D38-4FA7-9FDD-FE1CBB395B77}" dt="2021-03-04T16:57:01.662" v="1872" actId="2696"/>
          <pc:sldLayoutMkLst>
            <pc:docMk/>
            <pc:sldMasterMk cId="3588427678" sldId="2147484229"/>
            <pc:sldLayoutMk cId="1572006585" sldId="2147484910"/>
          </pc:sldLayoutMkLst>
        </pc:sldLayoutChg>
        <pc:sldLayoutChg chg="del">
          <pc:chgData name="Henry Jammes" userId="5f22554b-fd15-4676-8c82-dc6122af2a80" providerId="ADAL" clId="{97ED4A04-9D38-4FA7-9FDD-FE1CBB395B77}" dt="2021-03-04T16:56:56.376" v="1862" actId="2696"/>
          <pc:sldLayoutMkLst>
            <pc:docMk/>
            <pc:sldMasterMk cId="3588427678" sldId="2147484229"/>
            <pc:sldLayoutMk cId="533679714" sldId="2147484911"/>
          </pc:sldLayoutMkLst>
        </pc:sldLayoutChg>
        <pc:sldLayoutChg chg="del">
          <pc:chgData name="Henry Jammes" userId="5f22554b-fd15-4676-8c82-dc6122af2a80" providerId="ADAL" clId="{97ED4A04-9D38-4FA7-9FDD-FE1CBB395B77}" dt="2021-03-04T16:56:16.612" v="1795" actId="2696"/>
          <pc:sldLayoutMkLst>
            <pc:docMk/>
            <pc:sldMasterMk cId="3588427678" sldId="2147484229"/>
            <pc:sldLayoutMk cId="3861443602" sldId="2147484922"/>
          </pc:sldLayoutMkLst>
        </pc:sldLayoutChg>
        <pc:sldLayoutChg chg="del">
          <pc:chgData name="Henry Jammes" userId="5f22554b-fd15-4676-8c82-dc6122af2a80" providerId="ADAL" clId="{97ED4A04-9D38-4FA7-9FDD-FE1CBB395B77}" dt="2021-03-04T16:56:16.784" v="1796" actId="2696"/>
          <pc:sldLayoutMkLst>
            <pc:docMk/>
            <pc:sldMasterMk cId="3588427678" sldId="2147484229"/>
            <pc:sldLayoutMk cId="2603402083" sldId="2147484923"/>
          </pc:sldLayoutMkLst>
        </pc:sldLayoutChg>
        <pc:sldLayoutChg chg="del">
          <pc:chgData name="Henry Jammes" userId="5f22554b-fd15-4676-8c82-dc6122af2a80" providerId="ADAL" clId="{97ED4A04-9D38-4FA7-9FDD-FE1CBB395B77}" dt="2021-03-04T16:56:23.080" v="1800" actId="2696"/>
          <pc:sldLayoutMkLst>
            <pc:docMk/>
            <pc:sldMasterMk cId="3588427678" sldId="2147484229"/>
            <pc:sldLayoutMk cId="1096866871" sldId="2147484924"/>
          </pc:sldLayoutMkLst>
        </pc:sldLayoutChg>
        <pc:sldLayoutChg chg="del">
          <pc:chgData name="Henry Jammes" userId="5f22554b-fd15-4676-8c82-dc6122af2a80" providerId="ADAL" clId="{97ED4A04-9D38-4FA7-9FDD-FE1CBB395B77}" dt="2021-03-04T16:57:01.223" v="1871" actId="2696"/>
          <pc:sldLayoutMkLst>
            <pc:docMk/>
            <pc:sldMasterMk cId="3588427678" sldId="2147484229"/>
            <pc:sldLayoutMk cId="55837859" sldId="2147484931"/>
          </pc:sldLayoutMkLst>
        </pc:sldLayoutChg>
        <pc:sldLayoutChg chg="del">
          <pc:chgData name="Henry Jammes" userId="5f22554b-fd15-4676-8c82-dc6122af2a80" providerId="ADAL" clId="{97ED4A04-9D38-4FA7-9FDD-FE1CBB395B77}" dt="2021-03-04T16:56:23.069" v="1799" actId="2696"/>
          <pc:sldLayoutMkLst>
            <pc:docMk/>
            <pc:sldMasterMk cId="3588427678" sldId="2147484229"/>
            <pc:sldLayoutMk cId="2747809149" sldId="2147484935"/>
          </pc:sldLayoutMkLst>
        </pc:sldLayoutChg>
        <pc:sldLayoutChg chg="del">
          <pc:chgData name="Henry Jammes" userId="5f22554b-fd15-4676-8c82-dc6122af2a80" providerId="ADAL" clId="{97ED4A04-9D38-4FA7-9FDD-FE1CBB395B77}" dt="2021-03-04T16:56:23.056" v="1798" actId="2696"/>
          <pc:sldLayoutMkLst>
            <pc:docMk/>
            <pc:sldMasterMk cId="3588427678" sldId="2147484229"/>
            <pc:sldLayoutMk cId="1268221172" sldId="2147484936"/>
          </pc:sldLayoutMkLst>
        </pc:sldLayoutChg>
        <pc:sldLayoutChg chg="del">
          <pc:chgData name="Henry Jammes" userId="5f22554b-fd15-4676-8c82-dc6122af2a80" providerId="ADAL" clId="{97ED4A04-9D38-4FA7-9FDD-FE1CBB395B77}" dt="2021-03-04T16:56:23.046" v="1797" actId="2696"/>
          <pc:sldLayoutMkLst>
            <pc:docMk/>
            <pc:sldMasterMk cId="3588427678" sldId="2147484229"/>
            <pc:sldLayoutMk cId="2144532524" sldId="2147484937"/>
          </pc:sldLayoutMkLst>
        </pc:sldLayoutChg>
        <pc:sldLayoutChg chg="del">
          <pc:chgData name="Henry Jammes" userId="5f22554b-fd15-4676-8c82-dc6122af2a80" providerId="ADAL" clId="{97ED4A04-9D38-4FA7-9FDD-FE1CBB395B77}" dt="2021-03-04T16:56:29.653" v="1814" actId="2696"/>
          <pc:sldLayoutMkLst>
            <pc:docMk/>
            <pc:sldMasterMk cId="3588427678" sldId="2147484229"/>
            <pc:sldLayoutMk cId="3318732388" sldId="2147484943"/>
          </pc:sldLayoutMkLst>
        </pc:sldLayoutChg>
        <pc:sldLayoutChg chg="del">
          <pc:chgData name="Henry Jammes" userId="5f22554b-fd15-4676-8c82-dc6122af2a80" providerId="ADAL" clId="{97ED4A04-9D38-4FA7-9FDD-FE1CBB395B77}" dt="2021-03-04T16:56:29.644" v="1812" actId="2696"/>
          <pc:sldLayoutMkLst>
            <pc:docMk/>
            <pc:sldMasterMk cId="3588427678" sldId="2147484229"/>
            <pc:sldLayoutMk cId="2037702073" sldId="2147484944"/>
          </pc:sldLayoutMkLst>
        </pc:sldLayoutChg>
        <pc:sldLayoutChg chg="add del">
          <pc:chgData name="Henry Jammes" userId="5f22554b-fd15-4676-8c82-dc6122af2a80" providerId="ADAL" clId="{97ED4A04-9D38-4FA7-9FDD-FE1CBB395B77}" dt="2021-03-04T16:56:29.614" v="1807" actId="2696"/>
          <pc:sldLayoutMkLst>
            <pc:docMk/>
            <pc:sldMasterMk cId="3588427678" sldId="2147484229"/>
            <pc:sldLayoutMk cId="2691252822" sldId="2147484955"/>
          </pc:sldLayoutMkLst>
        </pc:sldLayoutChg>
        <pc:sldLayoutChg chg="del">
          <pc:chgData name="Henry Jammes" userId="5f22554b-fd15-4676-8c82-dc6122af2a80" providerId="ADAL" clId="{97ED4A04-9D38-4FA7-9FDD-FE1CBB395B77}" dt="2021-03-04T16:56:29.635" v="1810" actId="2696"/>
          <pc:sldLayoutMkLst>
            <pc:docMk/>
            <pc:sldMasterMk cId="3588427678" sldId="2147484229"/>
            <pc:sldLayoutMk cId="2191972190" sldId="2147484956"/>
          </pc:sldLayoutMkLst>
        </pc:sldLayoutChg>
        <pc:sldLayoutChg chg="add del">
          <pc:chgData name="Henry Jammes" userId="5f22554b-fd15-4676-8c82-dc6122af2a80" providerId="ADAL" clId="{97ED4A04-9D38-4FA7-9FDD-FE1CBB395B77}" dt="2021-03-04T16:56:29.622" v="1808" actId="2696"/>
          <pc:sldLayoutMkLst>
            <pc:docMk/>
            <pc:sldMasterMk cId="3588427678" sldId="2147484229"/>
            <pc:sldLayoutMk cId="1195232922" sldId="2147484957"/>
          </pc:sldLayoutMkLst>
        </pc:sldLayoutChg>
        <pc:sldLayoutChg chg="del">
          <pc:chgData name="Henry Jammes" userId="5f22554b-fd15-4676-8c82-dc6122af2a80" providerId="ADAL" clId="{97ED4A04-9D38-4FA7-9FDD-FE1CBB395B77}" dt="2021-03-04T16:56:29.640" v="1811" actId="2696"/>
          <pc:sldLayoutMkLst>
            <pc:docMk/>
            <pc:sldMasterMk cId="3588427678" sldId="2147484229"/>
            <pc:sldLayoutMk cId="2160366155" sldId="2147484958"/>
          </pc:sldLayoutMkLst>
        </pc:sldLayoutChg>
        <pc:sldLayoutChg chg="del">
          <pc:chgData name="Henry Jammes" userId="5f22554b-fd15-4676-8c82-dc6122af2a80" providerId="ADAL" clId="{97ED4A04-9D38-4FA7-9FDD-FE1CBB395B77}" dt="2021-03-04T16:56:29.647" v="1813" actId="2696"/>
          <pc:sldLayoutMkLst>
            <pc:docMk/>
            <pc:sldMasterMk cId="3588427678" sldId="2147484229"/>
            <pc:sldLayoutMk cId="1561540997" sldId="2147484961"/>
          </pc:sldLayoutMkLst>
        </pc:sldLayoutChg>
        <pc:sldLayoutChg chg="del">
          <pc:chgData name="Henry Jammes" userId="5f22554b-fd15-4676-8c82-dc6122af2a80" providerId="ADAL" clId="{97ED4A04-9D38-4FA7-9FDD-FE1CBB395B77}" dt="2021-03-04T16:56:29.598" v="1806" actId="2696"/>
          <pc:sldLayoutMkLst>
            <pc:docMk/>
            <pc:sldMasterMk cId="3588427678" sldId="2147484229"/>
            <pc:sldLayoutMk cId="1381327787" sldId="2147484962"/>
          </pc:sldLayoutMkLst>
        </pc:sldLayoutChg>
      </pc:sldMasterChg>
      <pc:sldMasterChg chg="addSp delSp del mod delSldLayout">
        <pc:chgData name="Henry Jammes" userId="5f22554b-fd15-4676-8c82-dc6122af2a80" providerId="ADAL" clId="{97ED4A04-9D38-4FA7-9FDD-FE1CBB395B77}" dt="2021-03-04T16:56:35.541" v="1858" actId="2696"/>
        <pc:sldMasterMkLst>
          <pc:docMk/>
          <pc:sldMasterMk cId="3852015802" sldId="2147484877"/>
        </pc:sldMasterMkLst>
        <pc:picChg chg="add del">
          <ac:chgData name="Henry Jammes" userId="5f22554b-fd15-4676-8c82-dc6122af2a80" providerId="ADAL" clId="{97ED4A04-9D38-4FA7-9FDD-FE1CBB395B77}" dt="2021-03-03T16:20:23.696" v="24" actId="478"/>
          <ac:picMkLst>
            <pc:docMk/>
            <pc:sldMasterMk cId="3852015802" sldId="2147484877"/>
            <ac:picMk id="5" creationId="{7A8105FD-6BB3-4E7B-92E4-6AD84766D58B}"/>
          </ac:picMkLst>
        </pc:picChg>
        <pc:sldLayoutChg chg="del">
          <pc:chgData name="Henry Jammes" userId="5f22554b-fd15-4676-8c82-dc6122af2a80" providerId="ADAL" clId="{97ED4A04-9D38-4FA7-9FDD-FE1CBB395B77}" dt="2021-03-04T16:56:35.440" v="1825" actId="2696"/>
          <pc:sldLayoutMkLst>
            <pc:docMk/>
            <pc:sldMasterMk cId="3852015802" sldId="2147484877"/>
            <pc:sldLayoutMk cId="693103414" sldId="2147484880"/>
          </pc:sldLayoutMkLst>
        </pc:sldLayoutChg>
        <pc:sldLayoutChg chg="del">
          <pc:chgData name="Henry Jammes" userId="5f22554b-fd15-4676-8c82-dc6122af2a80" providerId="ADAL" clId="{97ED4A04-9D38-4FA7-9FDD-FE1CBB395B77}" dt="2021-03-04T16:56:35.447" v="1827" actId="2696"/>
          <pc:sldLayoutMkLst>
            <pc:docMk/>
            <pc:sldMasterMk cId="3852015802" sldId="2147484877"/>
            <pc:sldLayoutMk cId="2745884768" sldId="2147484882"/>
          </pc:sldLayoutMkLst>
        </pc:sldLayoutChg>
        <pc:sldLayoutChg chg="del">
          <pc:chgData name="Henry Jammes" userId="5f22554b-fd15-4676-8c82-dc6122af2a80" providerId="ADAL" clId="{97ED4A04-9D38-4FA7-9FDD-FE1CBB395B77}" dt="2021-03-04T16:56:35.447" v="1828" actId="2696"/>
          <pc:sldLayoutMkLst>
            <pc:docMk/>
            <pc:sldMasterMk cId="3852015802" sldId="2147484877"/>
            <pc:sldLayoutMk cId="3160410916" sldId="2147484883"/>
          </pc:sldLayoutMkLst>
        </pc:sldLayoutChg>
        <pc:sldLayoutChg chg="del">
          <pc:chgData name="Henry Jammes" userId="5f22554b-fd15-4676-8c82-dc6122af2a80" providerId="ADAL" clId="{97ED4A04-9D38-4FA7-9FDD-FE1CBB395B77}" dt="2021-03-04T16:56:35.461" v="1831" actId="2696"/>
          <pc:sldLayoutMkLst>
            <pc:docMk/>
            <pc:sldMasterMk cId="3852015802" sldId="2147484877"/>
            <pc:sldLayoutMk cId="3687298653" sldId="2147484886"/>
          </pc:sldLayoutMkLst>
        </pc:sldLayoutChg>
        <pc:sldLayoutChg chg="del">
          <pc:chgData name="Henry Jammes" userId="5f22554b-fd15-4676-8c82-dc6122af2a80" providerId="ADAL" clId="{97ED4A04-9D38-4FA7-9FDD-FE1CBB395B77}" dt="2021-03-04T16:56:35.464" v="1832" actId="2696"/>
          <pc:sldLayoutMkLst>
            <pc:docMk/>
            <pc:sldMasterMk cId="3852015802" sldId="2147484877"/>
            <pc:sldLayoutMk cId="3308863613" sldId="2147484887"/>
          </pc:sldLayoutMkLst>
        </pc:sldLayoutChg>
        <pc:sldLayoutChg chg="del">
          <pc:chgData name="Henry Jammes" userId="5f22554b-fd15-4676-8c82-dc6122af2a80" providerId="ADAL" clId="{97ED4A04-9D38-4FA7-9FDD-FE1CBB395B77}" dt="2021-03-04T16:56:35.469" v="1836" actId="2696"/>
          <pc:sldLayoutMkLst>
            <pc:docMk/>
            <pc:sldMasterMk cId="3852015802" sldId="2147484877"/>
            <pc:sldLayoutMk cId="3841903408" sldId="2147484888"/>
          </pc:sldLayoutMkLst>
        </pc:sldLayoutChg>
        <pc:sldLayoutChg chg="del">
          <pc:chgData name="Henry Jammes" userId="5f22554b-fd15-4676-8c82-dc6122af2a80" providerId="ADAL" clId="{97ED4A04-9D38-4FA7-9FDD-FE1CBB395B77}" dt="2021-03-04T16:56:35.469" v="1837" actId="2696"/>
          <pc:sldLayoutMkLst>
            <pc:docMk/>
            <pc:sldMasterMk cId="3852015802" sldId="2147484877"/>
            <pc:sldLayoutMk cId="2373771252" sldId="2147484889"/>
          </pc:sldLayoutMkLst>
        </pc:sldLayoutChg>
        <pc:sldLayoutChg chg="del">
          <pc:chgData name="Henry Jammes" userId="5f22554b-fd15-4676-8c82-dc6122af2a80" providerId="ADAL" clId="{97ED4A04-9D38-4FA7-9FDD-FE1CBB395B77}" dt="2021-03-04T16:56:35.479" v="1838" actId="2696"/>
          <pc:sldLayoutMkLst>
            <pc:docMk/>
            <pc:sldMasterMk cId="3852015802" sldId="2147484877"/>
            <pc:sldLayoutMk cId="2626824655" sldId="2147484890"/>
          </pc:sldLayoutMkLst>
        </pc:sldLayoutChg>
        <pc:sldLayoutChg chg="del">
          <pc:chgData name="Henry Jammes" userId="5f22554b-fd15-4676-8c82-dc6122af2a80" providerId="ADAL" clId="{97ED4A04-9D38-4FA7-9FDD-FE1CBB395B77}" dt="2021-03-04T16:56:35.488" v="1842" actId="2696"/>
          <pc:sldLayoutMkLst>
            <pc:docMk/>
            <pc:sldMasterMk cId="3852015802" sldId="2147484877"/>
            <pc:sldLayoutMk cId="2664499213" sldId="2147484894"/>
          </pc:sldLayoutMkLst>
        </pc:sldLayoutChg>
        <pc:sldLayoutChg chg="del">
          <pc:chgData name="Henry Jammes" userId="5f22554b-fd15-4676-8c82-dc6122af2a80" providerId="ADAL" clId="{97ED4A04-9D38-4FA7-9FDD-FE1CBB395B77}" dt="2021-03-04T16:56:35.491" v="1843" actId="2696"/>
          <pc:sldLayoutMkLst>
            <pc:docMk/>
            <pc:sldMasterMk cId="3852015802" sldId="2147484877"/>
            <pc:sldLayoutMk cId="1000833516" sldId="2147484895"/>
          </pc:sldLayoutMkLst>
        </pc:sldLayoutChg>
        <pc:sldLayoutChg chg="del">
          <pc:chgData name="Henry Jammes" userId="5f22554b-fd15-4676-8c82-dc6122af2a80" providerId="ADAL" clId="{97ED4A04-9D38-4FA7-9FDD-FE1CBB395B77}" dt="2021-03-04T16:56:35.494" v="1844" actId="2696"/>
          <pc:sldLayoutMkLst>
            <pc:docMk/>
            <pc:sldMasterMk cId="3852015802" sldId="2147484877"/>
            <pc:sldLayoutMk cId="3339792509" sldId="2147484896"/>
          </pc:sldLayoutMkLst>
        </pc:sldLayoutChg>
        <pc:sldLayoutChg chg="del">
          <pc:chgData name="Henry Jammes" userId="5f22554b-fd15-4676-8c82-dc6122af2a80" providerId="ADAL" clId="{97ED4A04-9D38-4FA7-9FDD-FE1CBB395B77}" dt="2021-03-04T16:56:35.495" v="1845" actId="2696"/>
          <pc:sldLayoutMkLst>
            <pc:docMk/>
            <pc:sldMasterMk cId="3852015802" sldId="2147484877"/>
            <pc:sldLayoutMk cId="2990238365" sldId="2147484897"/>
          </pc:sldLayoutMkLst>
        </pc:sldLayoutChg>
        <pc:sldLayoutChg chg="del">
          <pc:chgData name="Henry Jammes" userId="5f22554b-fd15-4676-8c82-dc6122af2a80" providerId="ADAL" clId="{97ED4A04-9D38-4FA7-9FDD-FE1CBB395B77}" dt="2021-03-04T16:56:35.496" v="1846" actId="2696"/>
          <pc:sldLayoutMkLst>
            <pc:docMk/>
            <pc:sldMasterMk cId="3852015802" sldId="2147484877"/>
            <pc:sldLayoutMk cId="4263204189" sldId="2147484898"/>
          </pc:sldLayoutMkLst>
        </pc:sldLayoutChg>
        <pc:sldLayoutChg chg="del">
          <pc:chgData name="Henry Jammes" userId="5f22554b-fd15-4676-8c82-dc6122af2a80" providerId="ADAL" clId="{97ED4A04-9D38-4FA7-9FDD-FE1CBB395B77}" dt="2021-03-04T16:56:35.501" v="1848" actId="2696"/>
          <pc:sldLayoutMkLst>
            <pc:docMk/>
            <pc:sldMasterMk cId="3852015802" sldId="2147484877"/>
            <pc:sldLayoutMk cId="1798335702" sldId="2147484900"/>
          </pc:sldLayoutMkLst>
        </pc:sldLayoutChg>
        <pc:sldLayoutChg chg="del">
          <pc:chgData name="Henry Jammes" userId="5f22554b-fd15-4676-8c82-dc6122af2a80" providerId="ADAL" clId="{97ED4A04-9D38-4FA7-9FDD-FE1CBB395B77}" dt="2021-03-04T16:56:35.501" v="1849" actId="2696"/>
          <pc:sldLayoutMkLst>
            <pc:docMk/>
            <pc:sldMasterMk cId="3852015802" sldId="2147484877"/>
            <pc:sldLayoutMk cId="3283456405" sldId="2147484901"/>
          </pc:sldLayoutMkLst>
        </pc:sldLayoutChg>
        <pc:sldLayoutChg chg="del">
          <pc:chgData name="Henry Jammes" userId="5f22554b-fd15-4676-8c82-dc6122af2a80" providerId="ADAL" clId="{97ED4A04-9D38-4FA7-9FDD-FE1CBB395B77}" dt="2021-03-04T16:56:35.506" v="1851" actId="2696"/>
          <pc:sldLayoutMkLst>
            <pc:docMk/>
            <pc:sldMasterMk cId="3852015802" sldId="2147484877"/>
            <pc:sldLayoutMk cId="3927896387" sldId="2147484903"/>
          </pc:sldLayoutMkLst>
        </pc:sldLayoutChg>
        <pc:sldLayoutChg chg="del">
          <pc:chgData name="Henry Jammes" userId="5f22554b-fd15-4676-8c82-dc6122af2a80" providerId="ADAL" clId="{97ED4A04-9D38-4FA7-9FDD-FE1CBB395B77}" dt="2021-03-04T16:56:35.520" v="1855" actId="2696"/>
          <pc:sldLayoutMkLst>
            <pc:docMk/>
            <pc:sldMasterMk cId="3852015802" sldId="2147484877"/>
            <pc:sldLayoutMk cId="3449265278" sldId="2147484907"/>
          </pc:sldLayoutMkLst>
        </pc:sldLayoutChg>
        <pc:sldLayoutChg chg="del">
          <pc:chgData name="Henry Jammes" userId="5f22554b-fd15-4676-8c82-dc6122af2a80" providerId="ADAL" clId="{97ED4A04-9D38-4FA7-9FDD-FE1CBB395B77}" dt="2021-03-04T16:56:35.522" v="1856" actId="2696"/>
          <pc:sldLayoutMkLst>
            <pc:docMk/>
            <pc:sldMasterMk cId="3852015802" sldId="2147484877"/>
            <pc:sldLayoutMk cId="2413689106" sldId="2147484908"/>
          </pc:sldLayoutMkLst>
        </pc:sldLayoutChg>
        <pc:sldLayoutChg chg="del">
          <pc:chgData name="Henry Jammes" userId="5f22554b-fd15-4676-8c82-dc6122af2a80" providerId="ADAL" clId="{97ED4A04-9D38-4FA7-9FDD-FE1CBB395B77}" dt="2021-03-04T16:56:35.523" v="1857" actId="2696"/>
          <pc:sldLayoutMkLst>
            <pc:docMk/>
            <pc:sldMasterMk cId="3852015802" sldId="2147484877"/>
            <pc:sldLayoutMk cId="4269212997" sldId="2147484909"/>
          </pc:sldLayoutMkLst>
        </pc:sldLayoutChg>
        <pc:sldLayoutChg chg="del">
          <pc:chgData name="Henry Jammes" userId="5f22554b-fd15-4676-8c82-dc6122af2a80" providerId="ADAL" clId="{97ED4A04-9D38-4FA7-9FDD-FE1CBB395B77}" dt="2021-03-04T16:56:35.447" v="1829" actId="2696"/>
          <pc:sldLayoutMkLst>
            <pc:docMk/>
            <pc:sldMasterMk cId="3852015802" sldId="2147484877"/>
            <pc:sldLayoutMk cId="930667912" sldId="2147484912"/>
          </pc:sldLayoutMkLst>
        </pc:sldLayoutChg>
        <pc:sldLayoutChg chg="del">
          <pc:chgData name="Henry Jammes" userId="5f22554b-fd15-4676-8c82-dc6122af2a80" providerId="ADAL" clId="{97ED4A04-9D38-4FA7-9FDD-FE1CBB395B77}" dt="2021-03-04T16:56:35.459" v="1830" actId="2696"/>
          <pc:sldLayoutMkLst>
            <pc:docMk/>
            <pc:sldMasterMk cId="3852015802" sldId="2147484877"/>
            <pc:sldLayoutMk cId="2352525178" sldId="2147484913"/>
          </pc:sldLayoutMkLst>
        </pc:sldLayoutChg>
        <pc:sldLayoutChg chg="del">
          <pc:chgData name="Henry Jammes" userId="5f22554b-fd15-4676-8c82-dc6122af2a80" providerId="ADAL" clId="{97ED4A04-9D38-4FA7-9FDD-FE1CBB395B77}" dt="2021-03-04T16:56:35.481" v="1839" actId="2696"/>
          <pc:sldLayoutMkLst>
            <pc:docMk/>
            <pc:sldMasterMk cId="3852015802" sldId="2147484877"/>
            <pc:sldLayoutMk cId="2123383375" sldId="2147484928"/>
          </pc:sldLayoutMkLst>
        </pc:sldLayoutChg>
        <pc:sldLayoutChg chg="del">
          <pc:chgData name="Henry Jammes" userId="5f22554b-fd15-4676-8c82-dc6122af2a80" providerId="ADAL" clId="{97ED4A04-9D38-4FA7-9FDD-FE1CBB395B77}" dt="2021-03-04T16:56:35.484" v="1840" actId="2696"/>
          <pc:sldLayoutMkLst>
            <pc:docMk/>
            <pc:sldMasterMk cId="3852015802" sldId="2147484877"/>
            <pc:sldLayoutMk cId="1354863440" sldId="2147484929"/>
          </pc:sldLayoutMkLst>
        </pc:sldLayoutChg>
        <pc:sldLayoutChg chg="del">
          <pc:chgData name="Henry Jammes" userId="5f22554b-fd15-4676-8c82-dc6122af2a80" providerId="ADAL" clId="{97ED4A04-9D38-4FA7-9FDD-FE1CBB395B77}" dt="2021-03-04T16:56:35.486" v="1841" actId="2696"/>
          <pc:sldLayoutMkLst>
            <pc:docMk/>
            <pc:sldMasterMk cId="3852015802" sldId="2147484877"/>
            <pc:sldLayoutMk cId="4266381074" sldId="2147484930"/>
          </pc:sldLayoutMkLst>
        </pc:sldLayoutChg>
        <pc:sldLayoutChg chg="del">
          <pc:chgData name="Henry Jammes" userId="5f22554b-fd15-4676-8c82-dc6122af2a80" providerId="ADAL" clId="{97ED4A04-9D38-4FA7-9FDD-FE1CBB395B77}" dt="2021-03-04T16:56:35.496" v="1847" actId="2696"/>
          <pc:sldLayoutMkLst>
            <pc:docMk/>
            <pc:sldMasterMk cId="3852015802" sldId="2147484877"/>
            <pc:sldLayoutMk cId="529083589" sldId="2147484933"/>
          </pc:sldLayoutMkLst>
        </pc:sldLayoutChg>
        <pc:sldLayoutChg chg="del">
          <pc:chgData name="Henry Jammes" userId="5f22554b-fd15-4676-8c82-dc6122af2a80" providerId="ADAL" clId="{97ED4A04-9D38-4FA7-9FDD-FE1CBB395B77}" dt="2021-03-04T16:56:35.446" v="1826" actId="2696"/>
          <pc:sldLayoutMkLst>
            <pc:docMk/>
            <pc:sldMasterMk cId="3852015802" sldId="2147484877"/>
            <pc:sldLayoutMk cId="2973649221" sldId="2147484950"/>
          </pc:sldLayoutMkLst>
        </pc:sldLayoutChg>
        <pc:sldLayoutChg chg="del">
          <pc:chgData name="Henry Jammes" userId="5f22554b-fd15-4676-8c82-dc6122af2a80" providerId="ADAL" clId="{97ED4A04-9D38-4FA7-9FDD-FE1CBB395B77}" dt="2021-03-04T16:56:35.506" v="1850" actId="2696"/>
          <pc:sldLayoutMkLst>
            <pc:docMk/>
            <pc:sldMasterMk cId="3852015802" sldId="2147484877"/>
            <pc:sldLayoutMk cId="1780228471" sldId="2147484951"/>
          </pc:sldLayoutMkLst>
        </pc:sldLayoutChg>
        <pc:sldLayoutChg chg="del">
          <pc:chgData name="Henry Jammes" userId="5f22554b-fd15-4676-8c82-dc6122af2a80" providerId="ADAL" clId="{97ED4A04-9D38-4FA7-9FDD-FE1CBB395B77}" dt="2021-03-04T16:56:35.513" v="1852" actId="2696"/>
          <pc:sldLayoutMkLst>
            <pc:docMk/>
            <pc:sldMasterMk cId="3852015802" sldId="2147484877"/>
            <pc:sldLayoutMk cId="902576282" sldId="2147484952"/>
          </pc:sldLayoutMkLst>
        </pc:sldLayoutChg>
        <pc:sldLayoutChg chg="del">
          <pc:chgData name="Henry Jammes" userId="5f22554b-fd15-4676-8c82-dc6122af2a80" providerId="ADAL" clId="{97ED4A04-9D38-4FA7-9FDD-FE1CBB395B77}" dt="2021-03-04T16:56:35.516" v="1853" actId="2696"/>
          <pc:sldLayoutMkLst>
            <pc:docMk/>
            <pc:sldMasterMk cId="3852015802" sldId="2147484877"/>
            <pc:sldLayoutMk cId="2719457828" sldId="2147484953"/>
          </pc:sldLayoutMkLst>
        </pc:sldLayoutChg>
        <pc:sldLayoutChg chg="del">
          <pc:chgData name="Henry Jammes" userId="5f22554b-fd15-4676-8c82-dc6122af2a80" providerId="ADAL" clId="{97ED4A04-9D38-4FA7-9FDD-FE1CBB395B77}" dt="2021-03-04T16:56:35.518" v="1854" actId="2696"/>
          <pc:sldLayoutMkLst>
            <pc:docMk/>
            <pc:sldMasterMk cId="3852015802" sldId="2147484877"/>
            <pc:sldLayoutMk cId="1566177600" sldId="2147484954"/>
          </pc:sldLayoutMkLst>
        </pc:sldLayoutChg>
        <pc:sldLayoutChg chg="del">
          <pc:chgData name="Henry Jammes" userId="5f22554b-fd15-4676-8c82-dc6122af2a80" providerId="ADAL" clId="{97ED4A04-9D38-4FA7-9FDD-FE1CBB395B77}" dt="2021-03-04T16:56:35.376" v="1815" actId="2696"/>
          <pc:sldLayoutMkLst>
            <pc:docMk/>
            <pc:sldMasterMk cId="3852015802" sldId="2147484877"/>
            <pc:sldLayoutMk cId="2918906117" sldId="2147484963"/>
          </pc:sldLayoutMkLst>
        </pc:sldLayoutChg>
        <pc:sldLayoutChg chg="del">
          <pc:chgData name="Henry Jammes" userId="5f22554b-fd15-4676-8c82-dc6122af2a80" providerId="ADAL" clId="{97ED4A04-9D38-4FA7-9FDD-FE1CBB395B77}" dt="2021-03-04T16:56:35.399" v="1816" actId="2696"/>
          <pc:sldLayoutMkLst>
            <pc:docMk/>
            <pc:sldMasterMk cId="3852015802" sldId="2147484877"/>
            <pc:sldLayoutMk cId="1584160678" sldId="2147484964"/>
          </pc:sldLayoutMkLst>
        </pc:sldLayoutChg>
        <pc:sldLayoutChg chg="del">
          <pc:chgData name="Henry Jammes" userId="5f22554b-fd15-4676-8c82-dc6122af2a80" providerId="ADAL" clId="{97ED4A04-9D38-4FA7-9FDD-FE1CBB395B77}" dt="2021-03-04T16:56:35.406" v="1817" actId="2696"/>
          <pc:sldLayoutMkLst>
            <pc:docMk/>
            <pc:sldMasterMk cId="3852015802" sldId="2147484877"/>
            <pc:sldLayoutMk cId="3820529203" sldId="2147484965"/>
          </pc:sldLayoutMkLst>
        </pc:sldLayoutChg>
        <pc:sldLayoutChg chg="del">
          <pc:chgData name="Henry Jammes" userId="5f22554b-fd15-4676-8c82-dc6122af2a80" providerId="ADAL" clId="{97ED4A04-9D38-4FA7-9FDD-FE1CBB395B77}" dt="2021-03-04T16:56:35.406" v="1818" actId="2696"/>
          <pc:sldLayoutMkLst>
            <pc:docMk/>
            <pc:sldMasterMk cId="3852015802" sldId="2147484877"/>
            <pc:sldLayoutMk cId="4031173605" sldId="2147484966"/>
          </pc:sldLayoutMkLst>
        </pc:sldLayoutChg>
        <pc:sldLayoutChg chg="del">
          <pc:chgData name="Henry Jammes" userId="5f22554b-fd15-4676-8c82-dc6122af2a80" providerId="ADAL" clId="{97ED4A04-9D38-4FA7-9FDD-FE1CBB395B77}" dt="2021-03-04T16:56:35.416" v="1819" actId="2696"/>
          <pc:sldLayoutMkLst>
            <pc:docMk/>
            <pc:sldMasterMk cId="3852015802" sldId="2147484877"/>
            <pc:sldLayoutMk cId="3708994831" sldId="2147484967"/>
          </pc:sldLayoutMkLst>
        </pc:sldLayoutChg>
        <pc:sldLayoutChg chg="del">
          <pc:chgData name="Henry Jammes" userId="5f22554b-fd15-4676-8c82-dc6122af2a80" providerId="ADAL" clId="{97ED4A04-9D38-4FA7-9FDD-FE1CBB395B77}" dt="2021-03-04T16:56:35.425" v="1820" actId="2696"/>
          <pc:sldLayoutMkLst>
            <pc:docMk/>
            <pc:sldMasterMk cId="3852015802" sldId="2147484877"/>
            <pc:sldLayoutMk cId="2749353902" sldId="2147484968"/>
          </pc:sldLayoutMkLst>
        </pc:sldLayoutChg>
        <pc:sldLayoutChg chg="del">
          <pc:chgData name="Henry Jammes" userId="5f22554b-fd15-4676-8c82-dc6122af2a80" providerId="ADAL" clId="{97ED4A04-9D38-4FA7-9FDD-FE1CBB395B77}" dt="2021-03-04T16:56:35.429" v="1821" actId="2696"/>
          <pc:sldLayoutMkLst>
            <pc:docMk/>
            <pc:sldMasterMk cId="3852015802" sldId="2147484877"/>
            <pc:sldLayoutMk cId="2069016817" sldId="2147484969"/>
          </pc:sldLayoutMkLst>
        </pc:sldLayoutChg>
        <pc:sldLayoutChg chg="del">
          <pc:chgData name="Henry Jammes" userId="5f22554b-fd15-4676-8c82-dc6122af2a80" providerId="ADAL" clId="{97ED4A04-9D38-4FA7-9FDD-FE1CBB395B77}" dt="2021-03-04T16:56:35.432" v="1822" actId="2696"/>
          <pc:sldLayoutMkLst>
            <pc:docMk/>
            <pc:sldMasterMk cId="3852015802" sldId="2147484877"/>
            <pc:sldLayoutMk cId="3881046948" sldId="2147484970"/>
          </pc:sldLayoutMkLst>
        </pc:sldLayoutChg>
        <pc:sldLayoutChg chg="del">
          <pc:chgData name="Henry Jammes" userId="5f22554b-fd15-4676-8c82-dc6122af2a80" providerId="ADAL" clId="{97ED4A04-9D38-4FA7-9FDD-FE1CBB395B77}" dt="2021-03-04T16:56:35.436" v="1823" actId="2696"/>
          <pc:sldLayoutMkLst>
            <pc:docMk/>
            <pc:sldMasterMk cId="3852015802" sldId="2147484877"/>
            <pc:sldLayoutMk cId="3646941543" sldId="2147484971"/>
          </pc:sldLayoutMkLst>
        </pc:sldLayoutChg>
        <pc:sldLayoutChg chg="del">
          <pc:chgData name="Henry Jammes" userId="5f22554b-fd15-4676-8c82-dc6122af2a80" providerId="ADAL" clId="{97ED4A04-9D38-4FA7-9FDD-FE1CBB395B77}" dt="2021-03-04T16:56:35.440" v="1824" actId="2696"/>
          <pc:sldLayoutMkLst>
            <pc:docMk/>
            <pc:sldMasterMk cId="3852015802" sldId="2147484877"/>
            <pc:sldLayoutMk cId="967456747" sldId="2147484972"/>
          </pc:sldLayoutMkLst>
        </pc:sldLayoutChg>
        <pc:sldLayoutChg chg="del">
          <pc:chgData name="Henry Jammes" userId="5f22554b-fd15-4676-8c82-dc6122af2a80" providerId="ADAL" clId="{97ED4A04-9D38-4FA7-9FDD-FE1CBB395B77}" dt="2021-03-04T16:56:35.466" v="1833" actId="2696"/>
          <pc:sldLayoutMkLst>
            <pc:docMk/>
            <pc:sldMasterMk cId="3852015802" sldId="2147484877"/>
            <pc:sldLayoutMk cId="1595394804" sldId="2147484973"/>
          </pc:sldLayoutMkLst>
        </pc:sldLayoutChg>
        <pc:sldLayoutChg chg="del">
          <pc:chgData name="Henry Jammes" userId="5f22554b-fd15-4676-8c82-dc6122af2a80" providerId="ADAL" clId="{97ED4A04-9D38-4FA7-9FDD-FE1CBB395B77}" dt="2021-03-04T16:56:35.469" v="1834" actId="2696"/>
          <pc:sldLayoutMkLst>
            <pc:docMk/>
            <pc:sldMasterMk cId="3852015802" sldId="2147484877"/>
            <pc:sldLayoutMk cId="4142220178" sldId="2147484974"/>
          </pc:sldLayoutMkLst>
        </pc:sldLayoutChg>
        <pc:sldLayoutChg chg="del">
          <pc:chgData name="Henry Jammes" userId="5f22554b-fd15-4676-8c82-dc6122af2a80" providerId="ADAL" clId="{97ED4A04-9D38-4FA7-9FDD-FE1CBB395B77}" dt="2021-03-04T16:56:35.469" v="1835" actId="2696"/>
          <pc:sldLayoutMkLst>
            <pc:docMk/>
            <pc:sldMasterMk cId="3852015802" sldId="2147484877"/>
            <pc:sldLayoutMk cId="1208445862" sldId="2147484975"/>
          </pc:sldLayoutMkLst>
        </pc:sldLayoutChg>
      </pc:sldMasterChg>
    </pc:docChg>
  </pc:docChgLst>
  <pc:docChgLst>
    <pc:chgData name="Henry Jammes" userId="5f22554b-fd15-4676-8c82-dc6122af2a80" providerId="ADAL" clId="{A968C7F7-9AC9-4C23-83EB-9BB591010F75}"/>
    <pc:docChg chg="custSel delSld modSld modSection">
      <pc:chgData name="Henry Jammes" userId="5f22554b-fd15-4676-8c82-dc6122af2a80" providerId="ADAL" clId="{A968C7F7-9AC9-4C23-83EB-9BB591010F75}" dt="2021-07-30T22:06:13.914" v="29" actId="20577"/>
      <pc:docMkLst>
        <pc:docMk/>
      </pc:docMkLst>
      <pc:sldChg chg="del">
        <pc:chgData name="Henry Jammes" userId="5f22554b-fd15-4676-8c82-dc6122af2a80" providerId="ADAL" clId="{A968C7F7-9AC9-4C23-83EB-9BB591010F75}" dt="2021-07-30T20:42:43.540" v="0" actId="47"/>
        <pc:sldMkLst>
          <pc:docMk/>
          <pc:sldMk cId="2064129829" sldId="2076138110"/>
        </pc:sldMkLst>
      </pc:sldChg>
      <pc:sldChg chg="modSp mod">
        <pc:chgData name="Henry Jammes" userId="5f22554b-fd15-4676-8c82-dc6122af2a80" providerId="ADAL" clId="{A968C7F7-9AC9-4C23-83EB-9BB591010F75}" dt="2021-07-30T22:06:13.914" v="29" actId="20577"/>
        <pc:sldMkLst>
          <pc:docMk/>
          <pc:sldMk cId="352920340" sldId="2076138111"/>
        </pc:sldMkLst>
        <pc:spChg chg="mod">
          <ac:chgData name="Henry Jammes" userId="5f22554b-fd15-4676-8c82-dc6122af2a80" providerId="ADAL" clId="{A968C7F7-9AC9-4C23-83EB-9BB591010F75}" dt="2021-07-30T22:06:13.914" v="29" actId="20577"/>
          <ac:spMkLst>
            <pc:docMk/>
            <pc:sldMk cId="352920340" sldId="2076138111"/>
            <ac:spMk id="48" creationId="{7DA71E65-0EE9-4A25-B440-53180605EC7F}"/>
          </ac:spMkLst>
        </pc:spChg>
      </pc:sldChg>
      <pc:sldChg chg="delSp modSp mod">
        <pc:chgData name="Henry Jammes" userId="5f22554b-fd15-4676-8c82-dc6122af2a80" providerId="ADAL" clId="{A968C7F7-9AC9-4C23-83EB-9BB591010F75}" dt="2021-07-30T20:43:40.613" v="14" actId="242"/>
        <pc:sldMkLst>
          <pc:docMk/>
          <pc:sldMk cId="348835866" sldId="2076138127"/>
        </pc:sldMkLst>
        <pc:spChg chg="mod">
          <ac:chgData name="Henry Jammes" userId="5f22554b-fd15-4676-8c82-dc6122af2a80" providerId="ADAL" clId="{A968C7F7-9AC9-4C23-83EB-9BB591010F75}" dt="2021-07-30T20:42:59.349" v="3" actId="14100"/>
          <ac:spMkLst>
            <pc:docMk/>
            <pc:sldMk cId="348835866" sldId="2076138127"/>
            <ac:spMk id="22" creationId="{BF53A79F-5D46-4CAA-AE0E-F3A81FB91CFE}"/>
          </ac:spMkLst>
        </pc:spChg>
        <pc:spChg chg="mod">
          <ac:chgData name="Henry Jammes" userId="5f22554b-fd15-4676-8c82-dc6122af2a80" providerId="ADAL" clId="{A968C7F7-9AC9-4C23-83EB-9BB591010F75}" dt="2021-07-30T20:42:55.681" v="2" actId="20577"/>
          <ac:spMkLst>
            <pc:docMk/>
            <pc:sldMk cId="348835866" sldId="2076138127"/>
            <ac:spMk id="28" creationId="{DCC1AF7F-DA09-431D-81B7-38BFD7F263CE}"/>
          </ac:spMkLst>
        </pc:spChg>
        <pc:spChg chg="mod">
          <ac:chgData name="Henry Jammes" userId="5f22554b-fd15-4676-8c82-dc6122af2a80" providerId="ADAL" clId="{A968C7F7-9AC9-4C23-83EB-9BB591010F75}" dt="2021-07-30T20:43:15.187" v="8" actId="1036"/>
          <ac:spMkLst>
            <pc:docMk/>
            <pc:sldMk cId="348835866" sldId="2076138127"/>
            <ac:spMk id="32" creationId="{E06E5741-A7BE-432F-9C81-EB16FA620F50}"/>
          </ac:spMkLst>
        </pc:spChg>
        <pc:spChg chg="mod">
          <ac:chgData name="Henry Jammes" userId="5f22554b-fd15-4676-8c82-dc6122af2a80" providerId="ADAL" clId="{A968C7F7-9AC9-4C23-83EB-9BB591010F75}" dt="2021-07-30T20:43:40.613" v="14" actId="242"/>
          <ac:spMkLst>
            <pc:docMk/>
            <pc:sldMk cId="348835866" sldId="2076138127"/>
            <ac:spMk id="39" creationId="{C6F42727-2AE4-4EDF-B61F-B474FED5A18E}"/>
          </ac:spMkLst>
        </pc:spChg>
        <pc:spChg chg="mod">
          <ac:chgData name="Henry Jammes" userId="5f22554b-fd15-4676-8c82-dc6122af2a80" providerId="ADAL" clId="{A968C7F7-9AC9-4C23-83EB-9BB591010F75}" dt="2021-07-30T20:43:24.464" v="13" actId="14100"/>
          <ac:spMkLst>
            <pc:docMk/>
            <pc:sldMk cId="348835866" sldId="2076138127"/>
            <ac:spMk id="41" creationId="{01525AC4-6850-4B0A-B363-72E11363CDE6}"/>
          </ac:spMkLst>
        </pc:spChg>
        <pc:spChg chg="mod">
          <ac:chgData name="Henry Jammes" userId="5f22554b-fd15-4676-8c82-dc6122af2a80" providerId="ADAL" clId="{A968C7F7-9AC9-4C23-83EB-9BB591010F75}" dt="2021-07-30T20:43:15.187" v="8" actId="1036"/>
          <ac:spMkLst>
            <pc:docMk/>
            <pc:sldMk cId="348835866" sldId="2076138127"/>
            <ac:spMk id="48" creationId="{D9A700DD-2AE2-4BB9-B26E-54BE5DCA3E41}"/>
          </ac:spMkLst>
        </pc:spChg>
        <pc:grpChg chg="mod">
          <ac:chgData name="Henry Jammes" userId="5f22554b-fd15-4676-8c82-dc6122af2a80" providerId="ADAL" clId="{A968C7F7-9AC9-4C23-83EB-9BB591010F75}" dt="2021-07-30T20:43:20.436" v="12" actId="1036"/>
          <ac:grpSpMkLst>
            <pc:docMk/>
            <pc:sldMk cId="348835866" sldId="2076138127"/>
            <ac:grpSpMk id="42" creationId="{20734C93-0D06-48FC-B158-F2D7EAF69CFE}"/>
          </ac:grpSpMkLst>
        </pc:grpChg>
        <pc:grpChg chg="mod">
          <ac:chgData name="Henry Jammes" userId="5f22554b-fd15-4676-8c82-dc6122af2a80" providerId="ADAL" clId="{A968C7F7-9AC9-4C23-83EB-9BB591010F75}" dt="2021-07-30T20:43:15.187" v="8" actId="1036"/>
          <ac:grpSpMkLst>
            <pc:docMk/>
            <pc:sldMk cId="348835866" sldId="2076138127"/>
            <ac:grpSpMk id="53" creationId="{C0CDEDD2-54F4-454B-AC07-93D03D76D847}"/>
          </ac:grpSpMkLst>
        </pc:grpChg>
        <pc:cxnChg chg="mod">
          <ac:chgData name="Henry Jammes" userId="5f22554b-fd15-4676-8c82-dc6122af2a80" providerId="ADAL" clId="{A968C7F7-9AC9-4C23-83EB-9BB591010F75}" dt="2021-07-30T20:43:16.227" v="9" actId="1035"/>
          <ac:cxnSpMkLst>
            <pc:docMk/>
            <pc:sldMk cId="348835866" sldId="2076138127"/>
            <ac:cxnSpMk id="23" creationId="{8196B560-76E9-4D9A-AE5E-9474F8AFEE3E}"/>
          </ac:cxnSpMkLst>
        </pc:cxnChg>
        <pc:cxnChg chg="del">
          <ac:chgData name="Henry Jammes" userId="5f22554b-fd15-4676-8c82-dc6122af2a80" providerId="ADAL" clId="{A968C7F7-9AC9-4C23-83EB-9BB591010F75}" dt="2021-07-30T20:43:06.821" v="5" actId="478"/>
          <ac:cxnSpMkLst>
            <pc:docMk/>
            <pc:sldMk cId="348835866" sldId="2076138127"/>
            <ac:cxnSpMk id="34" creationId="{7C95CEAE-E490-4F13-A299-F1A38AF3BD16}"/>
          </ac:cxnSpMkLst>
        </pc:cxnChg>
        <pc:cxnChg chg="mod">
          <ac:chgData name="Henry Jammes" userId="5f22554b-fd15-4676-8c82-dc6122af2a80" providerId="ADAL" clId="{A968C7F7-9AC9-4C23-83EB-9BB591010F75}" dt="2021-07-30T20:43:20.436" v="12" actId="1036"/>
          <ac:cxnSpMkLst>
            <pc:docMk/>
            <pc:sldMk cId="348835866" sldId="2076138127"/>
            <ac:cxnSpMk id="45" creationId="{DE94E34A-C329-40D0-8E17-89BD032D9AF3}"/>
          </ac:cxnSpMkLst>
        </pc:cxnChg>
      </pc:sldChg>
    </pc:docChg>
  </pc:docChgLst>
  <pc:docChgLst>
    <pc:chgData name="Rich Black" userId="S::riblack@microsoft.com::b49cc34d-059b-4351-ba76-9f03c1133ec4" providerId="AD" clId="Web-{D8F0B59F-A049-0000-D567-E6D7F99A07A2}"/>
    <pc:docChg chg="modSld">
      <pc:chgData name="Rich Black" userId="S::riblack@microsoft.com::b49cc34d-059b-4351-ba76-9f03c1133ec4" providerId="AD" clId="Web-{D8F0B59F-A049-0000-D567-E6D7F99A07A2}" dt="2021-03-19T23:45:36.299" v="4"/>
      <pc:docMkLst>
        <pc:docMk/>
      </pc:docMkLst>
      <pc:sldChg chg="modNotes">
        <pc:chgData name="Rich Black" userId="S::riblack@microsoft.com::b49cc34d-059b-4351-ba76-9f03c1133ec4" providerId="AD" clId="Web-{D8F0B59F-A049-0000-D567-E6D7F99A07A2}" dt="2021-03-19T23:45:36.299" v="4"/>
        <pc:sldMkLst>
          <pc:docMk/>
          <pc:sldMk cId="477144629" sldId="10248"/>
        </pc:sldMkLst>
      </pc:sldChg>
    </pc:docChg>
  </pc:docChgLst>
  <pc:docChgLst>
    <pc:chgData name="Henry Jammes" userId="5f22554b-fd15-4676-8c82-dc6122af2a80" providerId="ADAL" clId="{63DB040D-76E8-4AA8-B971-6D9580E5DA1B}"/>
    <pc:docChg chg="undo custSel addSld delSld modSld modSection">
      <pc:chgData name="Henry Jammes" userId="5f22554b-fd15-4676-8c82-dc6122af2a80" providerId="ADAL" clId="{63DB040D-76E8-4AA8-B971-6D9580E5DA1B}" dt="2021-03-23T19:08:11.938" v="5" actId="22"/>
      <pc:docMkLst>
        <pc:docMk/>
      </pc:docMkLst>
      <pc:sldChg chg="addSp delSp mod">
        <pc:chgData name="Henry Jammes" userId="5f22554b-fd15-4676-8c82-dc6122af2a80" providerId="ADAL" clId="{63DB040D-76E8-4AA8-B971-6D9580E5DA1B}" dt="2021-03-23T19:08:04" v="4" actId="22"/>
        <pc:sldMkLst>
          <pc:docMk/>
          <pc:sldMk cId="2064129829" sldId="2076138110"/>
        </pc:sldMkLst>
        <pc:spChg chg="add del">
          <ac:chgData name="Henry Jammes" userId="5f22554b-fd15-4676-8c82-dc6122af2a80" providerId="ADAL" clId="{63DB040D-76E8-4AA8-B971-6D9580E5DA1B}" dt="2021-03-23T19:07:59.969" v="2" actId="22"/>
          <ac:spMkLst>
            <pc:docMk/>
            <pc:sldMk cId="2064129829" sldId="2076138110"/>
            <ac:spMk id="39" creationId="{EEC34329-1A3B-4727-ABF8-1C078A8C1D3D}"/>
          </ac:spMkLst>
        </pc:spChg>
        <pc:spChg chg="add del">
          <ac:chgData name="Henry Jammes" userId="5f22554b-fd15-4676-8c82-dc6122af2a80" providerId="ADAL" clId="{63DB040D-76E8-4AA8-B971-6D9580E5DA1B}" dt="2021-03-23T19:08:04" v="4" actId="22"/>
          <ac:spMkLst>
            <pc:docMk/>
            <pc:sldMk cId="2064129829" sldId="2076138110"/>
            <ac:spMk id="41" creationId="{FE2D8C7B-19BC-469E-BB6F-135C87CEE3F8}"/>
          </ac:spMkLst>
        </pc:spChg>
      </pc:sldChg>
      <pc:sldChg chg="add del">
        <pc:chgData name="Henry Jammes" userId="5f22554b-fd15-4676-8c82-dc6122af2a80" providerId="ADAL" clId="{63DB040D-76E8-4AA8-B971-6D9580E5DA1B}" dt="2021-03-23T19:08:11.938" v="5" actId="22"/>
        <pc:sldMkLst>
          <pc:docMk/>
          <pc:sldMk cId="352920340" sldId="2076138111"/>
        </pc:sldMkLst>
      </pc:sldChg>
    </pc:docChg>
  </pc:docChgLst>
  <pc:docChgLst>
    <pc:chgData name="Rich Black" userId="S::riblack@microsoft.com::b49cc34d-059b-4351-ba76-9f03c1133ec4" providerId="AD" clId="Web-{216DB99F-00B0-0000-D567-EF6E2AE6216C}"/>
    <pc:docChg chg="modSld">
      <pc:chgData name="Rich Black" userId="S::riblack@microsoft.com::b49cc34d-059b-4351-ba76-9f03c1133ec4" providerId="AD" clId="Web-{216DB99F-00B0-0000-D567-EF6E2AE6216C}" dt="2021-03-30T19:40:36.806" v="2"/>
      <pc:docMkLst>
        <pc:docMk/>
      </pc:docMkLst>
      <pc:sldChg chg="modNotes">
        <pc:chgData name="Rich Black" userId="S::riblack@microsoft.com::b49cc34d-059b-4351-ba76-9f03c1133ec4" providerId="AD" clId="Web-{216DB99F-00B0-0000-D567-EF6E2AE6216C}" dt="2021-03-30T19:40:36.806" v="2"/>
        <pc:sldMkLst>
          <pc:docMk/>
          <pc:sldMk cId="994621968" sldId="2076138107"/>
        </pc:sldMkLst>
      </pc:sldChg>
    </pc:docChg>
  </pc:docChgLst>
  <pc:docChgLst>
    <pc:chgData name="Rich Black" userId="S::riblack@microsoft.com::b49cc34d-059b-4351-ba76-9f03c1133ec4" providerId="AD" clId="Web-{8E1BB09F-00F1-0000-D567-EEAB10854B27}"/>
    <pc:docChg chg="delSld modSection">
      <pc:chgData name="Rich Black" userId="S::riblack@microsoft.com::b49cc34d-059b-4351-ba76-9f03c1133ec4" providerId="AD" clId="Web-{8E1BB09F-00F1-0000-D567-EEAB10854B27}" dt="2021-03-01T20:48:27.425" v="3"/>
      <pc:docMkLst>
        <pc:docMk/>
      </pc:docMkLst>
      <pc:sldChg chg="del">
        <pc:chgData name="Rich Black" userId="S::riblack@microsoft.com::b49cc34d-059b-4351-ba76-9f03c1133ec4" providerId="AD" clId="Web-{8E1BB09F-00F1-0000-D567-EEAB10854B27}" dt="2021-03-01T20:48:27.425" v="3"/>
        <pc:sldMkLst>
          <pc:docMk/>
          <pc:sldMk cId="3411861161" sldId="10253"/>
        </pc:sldMkLst>
      </pc:sldChg>
      <pc:sldChg chg="del">
        <pc:chgData name="Rich Black" userId="S::riblack@microsoft.com::b49cc34d-059b-4351-ba76-9f03c1133ec4" providerId="AD" clId="Web-{8E1BB09F-00F1-0000-D567-EEAB10854B27}" dt="2021-03-01T20:48:20.440" v="0"/>
        <pc:sldMkLst>
          <pc:docMk/>
          <pc:sldMk cId="2532037020" sldId="10258"/>
        </pc:sldMkLst>
      </pc:sldChg>
      <pc:sldChg chg="del">
        <pc:chgData name="Rich Black" userId="S::riblack@microsoft.com::b49cc34d-059b-4351-ba76-9f03c1133ec4" providerId="AD" clId="Web-{8E1BB09F-00F1-0000-D567-EEAB10854B27}" dt="2021-03-01T20:48:22.971" v="1"/>
        <pc:sldMkLst>
          <pc:docMk/>
          <pc:sldMk cId="2105534432" sldId="10269"/>
        </pc:sldMkLst>
      </pc:sldChg>
      <pc:sldChg chg="del">
        <pc:chgData name="Rich Black" userId="S::riblack@microsoft.com::b49cc34d-059b-4351-ba76-9f03c1133ec4" providerId="AD" clId="Web-{8E1BB09F-00F1-0000-D567-EEAB10854B27}" dt="2021-03-01T20:48:24.784" v="2"/>
        <pc:sldMkLst>
          <pc:docMk/>
          <pc:sldMk cId="697561485" sldId="10271"/>
        </pc:sldMkLst>
      </pc:sldChg>
    </pc:docChg>
  </pc:docChgLst>
  <pc:docChgLst>
    <pc:chgData name="Rich Black" userId="S::riblack@microsoft.com::b49cc34d-059b-4351-ba76-9f03c1133ec4" providerId="AD" clId="Web-{F1CCF6E2-2D78-9451-1D54-E040CAAD4DCA}"/>
    <pc:docChg chg="modSld">
      <pc:chgData name="Rich Black" userId="S::riblack@microsoft.com::b49cc34d-059b-4351-ba76-9f03c1133ec4" providerId="AD" clId="Web-{F1CCF6E2-2D78-9451-1D54-E040CAAD4DCA}" dt="2021-05-07T22:39:45.055" v="2"/>
      <pc:docMkLst>
        <pc:docMk/>
      </pc:docMkLst>
      <pc:sldChg chg="modNotes">
        <pc:chgData name="Rich Black" userId="S::riblack@microsoft.com::b49cc34d-059b-4351-ba76-9f03c1133ec4" providerId="AD" clId="Web-{F1CCF6E2-2D78-9451-1D54-E040CAAD4DCA}" dt="2021-05-07T22:39:45.055" v="2"/>
        <pc:sldMkLst>
          <pc:docMk/>
          <pc:sldMk cId="75109738" sldId="2076138109"/>
        </pc:sldMkLst>
      </pc:sldChg>
    </pc:docChg>
  </pc:docChgLst>
  <pc:docChgLst>
    <pc:chgData name="Rich Black" userId="b49cc34d-059b-4351-ba76-9f03c1133ec4" providerId="ADAL" clId="{0928A5FA-EC82-4D23-AB29-D8B9984EE1ED}"/>
    <pc:docChg chg="modSld">
      <pc:chgData name="Rich Black" userId="b49cc34d-059b-4351-ba76-9f03c1133ec4" providerId="ADAL" clId="{0928A5FA-EC82-4D23-AB29-D8B9984EE1ED}" dt="2021-06-25T03:43:07.601" v="3"/>
      <pc:docMkLst>
        <pc:docMk/>
      </pc:docMkLst>
      <pc:sldChg chg="setBg">
        <pc:chgData name="Rich Black" userId="b49cc34d-059b-4351-ba76-9f03c1133ec4" providerId="ADAL" clId="{0928A5FA-EC82-4D23-AB29-D8B9984EE1ED}" dt="2021-06-25T03:43:07.601" v="3"/>
        <pc:sldMkLst>
          <pc:docMk/>
          <pc:sldMk cId="3188214157" sldId="3139"/>
        </pc:sldMkLst>
      </pc:sldChg>
    </pc:docChg>
  </pc:docChgLst>
  <pc:docChgLst>
    <pc:chgData name="Rich Black" userId="S::riblack@microsoft.com::b49cc34d-059b-4351-ba76-9f03c1133ec4" providerId="AD" clId="Web-{EE6DB09F-80BC-0000-D168-A5A16EA349EC}"/>
    <pc:docChg chg="modSld">
      <pc:chgData name="Rich Black" userId="S::riblack@microsoft.com::b49cc34d-059b-4351-ba76-9f03c1133ec4" providerId="AD" clId="Web-{EE6DB09F-80BC-0000-D168-A5A16EA349EC}" dt="2021-03-02T21:00:30.481" v="138" actId="20577"/>
      <pc:docMkLst>
        <pc:docMk/>
      </pc:docMkLst>
      <pc:sldChg chg="modSp">
        <pc:chgData name="Rich Black" userId="S::riblack@microsoft.com::b49cc34d-059b-4351-ba76-9f03c1133ec4" providerId="AD" clId="Web-{EE6DB09F-80BC-0000-D168-A5A16EA349EC}" dt="2021-03-02T20:50:24.974" v="30" actId="20577"/>
        <pc:sldMkLst>
          <pc:docMk/>
          <pc:sldMk cId="1094870920" sldId="1735"/>
        </pc:sldMkLst>
        <pc:spChg chg="mod">
          <ac:chgData name="Rich Black" userId="S::riblack@microsoft.com::b49cc34d-059b-4351-ba76-9f03c1133ec4" providerId="AD" clId="Web-{EE6DB09F-80BC-0000-D168-A5A16EA349EC}" dt="2021-03-02T20:48:00.278" v="6" actId="20577"/>
          <ac:spMkLst>
            <pc:docMk/>
            <pc:sldMk cId="1094870920" sldId="1735"/>
            <ac:spMk id="2" creationId="{45010FE8-BF09-4146-B084-66CB05B66FD9}"/>
          </ac:spMkLst>
        </pc:spChg>
        <pc:spChg chg="mod">
          <ac:chgData name="Rich Black" userId="S::riblack@microsoft.com::b49cc34d-059b-4351-ba76-9f03c1133ec4" providerId="AD" clId="Web-{EE6DB09F-80BC-0000-D168-A5A16EA349EC}" dt="2021-03-02T20:48:44.077" v="17" actId="20577"/>
          <ac:spMkLst>
            <pc:docMk/>
            <pc:sldMk cId="1094870920" sldId="1735"/>
            <ac:spMk id="7" creationId="{D9C75647-D889-4D6D-BAA2-E25037BE2A93}"/>
          </ac:spMkLst>
        </pc:spChg>
        <pc:spChg chg="mod">
          <ac:chgData name="Rich Black" userId="S::riblack@microsoft.com::b49cc34d-059b-4351-ba76-9f03c1133ec4" providerId="AD" clId="Web-{EE6DB09F-80BC-0000-D168-A5A16EA349EC}" dt="2021-03-02T20:50:24.974" v="30" actId="20577"/>
          <ac:spMkLst>
            <pc:docMk/>
            <pc:sldMk cId="1094870920" sldId="1735"/>
            <ac:spMk id="8" creationId="{86F01C8A-BF06-4E77-A5CE-F7A45AF12A83}"/>
          </ac:spMkLst>
        </pc:spChg>
        <pc:spChg chg="mod">
          <ac:chgData name="Rich Black" userId="S::riblack@microsoft.com::b49cc34d-059b-4351-ba76-9f03c1133ec4" providerId="AD" clId="Web-{EE6DB09F-80BC-0000-D168-A5A16EA349EC}" dt="2021-03-02T20:48:16.716" v="9" actId="20577"/>
          <ac:spMkLst>
            <pc:docMk/>
            <pc:sldMk cId="1094870920" sldId="1735"/>
            <ac:spMk id="55" creationId="{D909AFD3-772D-428E-8735-D3CC0F3F9928}"/>
          </ac:spMkLst>
        </pc:spChg>
        <pc:spChg chg="mod">
          <ac:chgData name="Rich Black" userId="S::riblack@microsoft.com::b49cc34d-059b-4351-ba76-9f03c1133ec4" providerId="AD" clId="Web-{EE6DB09F-80BC-0000-D168-A5A16EA349EC}" dt="2021-03-02T20:48:25.436" v="11" actId="20577"/>
          <ac:spMkLst>
            <pc:docMk/>
            <pc:sldMk cId="1094870920" sldId="1735"/>
            <ac:spMk id="65" creationId="{54341627-CD8C-4D9B-8381-28743BCFFBF1}"/>
          </ac:spMkLst>
        </pc:spChg>
        <pc:spChg chg="mod">
          <ac:chgData name="Rich Black" userId="S::riblack@microsoft.com::b49cc34d-059b-4351-ba76-9f03c1133ec4" providerId="AD" clId="Web-{EE6DB09F-80BC-0000-D168-A5A16EA349EC}" dt="2021-03-02T20:48:33.655" v="13" actId="20577"/>
          <ac:spMkLst>
            <pc:docMk/>
            <pc:sldMk cId="1094870920" sldId="1735"/>
            <ac:spMk id="70" creationId="{1CE81B94-64B5-49BC-8A00-1B321C123F69}"/>
          </ac:spMkLst>
        </pc:spChg>
        <pc:spChg chg="mod">
          <ac:chgData name="Rich Black" userId="S::riblack@microsoft.com::b49cc34d-059b-4351-ba76-9f03c1133ec4" providerId="AD" clId="Web-{EE6DB09F-80BC-0000-D168-A5A16EA349EC}" dt="2021-03-02T20:48:51.437" v="20" actId="20577"/>
          <ac:spMkLst>
            <pc:docMk/>
            <pc:sldMk cId="1094870920" sldId="1735"/>
            <ac:spMk id="85" creationId="{8DE2201B-869B-46E1-9DBD-5685B60F9033}"/>
          </ac:spMkLst>
        </pc:spChg>
        <pc:spChg chg="mod">
          <ac:chgData name="Rich Black" userId="S::riblack@microsoft.com::b49cc34d-059b-4351-ba76-9f03c1133ec4" providerId="AD" clId="Web-{EE6DB09F-80BC-0000-D168-A5A16EA349EC}" dt="2021-03-02T20:49:51.113" v="26" actId="20577"/>
          <ac:spMkLst>
            <pc:docMk/>
            <pc:sldMk cId="1094870920" sldId="1735"/>
            <ac:spMk id="92" creationId="{72338CD4-6943-4E80-9D84-B26117EBF7D3}"/>
          </ac:spMkLst>
        </pc:spChg>
        <pc:spChg chg="mod">
          <ac:chgData name="Rich Black" userId="S::riblack@microsoft.com::b49cc34d-059b-4351-ba76-9f03c1133ec4" providerId="AD" clId="Web-{EE6DB09F-80BC-0000-D168-A5A16EA349EC}" dt="2021-03-02T20:48:29.139" v="12" actId="20577"/>
          <ac:spMkLst>
            <pc:docMk/>
            <pc:sldMk cId="1094870920" sldId="1735"/>
            <ac:spMk id="104" creationId="{D08E7B84-2F88-4D52-9CB4-037578693141}"/>
          </ac:spMkLst>
        </pc:spChg>
        <pc:spChg chg="mod">
          <ac:chgData name="Rich Black" userId="S::riblack@microsoft.com::b49cc34d-059b-4351-ba76-9f03c1133ec4" providerId="AD" clId="Web-{EE6DB09F-80BC-0000-D168-A5A16EA349EC}" dt="2021-03-02T20:49:59.395" v="28" actId="20577"/>
          <ac:spMkLst>
            <pc:docMk/>
            <pc:sldMk cId="1094870920" sldId="1735"/>
            <ac:spMk id="109" creationId="{3E4DFA63-3F0D-487B-A03F-3BEC2E1DBE83}"/>
          </ac:spMkLst>
        </pc:spChg>
      </pc:sldChg>
      <pc:sldChg chg="modSp">
        <pc:chgData name="Rich Black" userId="S::riblack@microsoft.com::b49cc34d-059b-4351-ba76-9f03c1133ec4" providerId="AD" clId="Web-{EE6DB09F-80BC-0000-D168-A5A16EA349EC}" dt="2021-03-02T20:57:21.516" v="77" actId="20577"/>
        <pc:sldMkLst>
          <pc:docMk/>
          <pc:sldMk cId="2345068032" sldId="1786"/>
        </pc:sldMkLst>
        <pc:spChg chg="mod">
          <ac:chgData name="Rich Black" userId="S::riblack@microsoft.com::b49cc34d-059b-4351-ba76-9f03c1133ec4" providerId="AD" clId="Web-{EE6DB09F-80BC-0000-D168-A5A16EA349EC}" dt="2021-03-02T20:54:39.256" v="38" actId="20577"/>
          <ac:spMkLst>
            <pc:docMk/>
            <pc:sldMk cId="2345068032" sldId="1786"/>
            <ac:spMk id="2" creationId="{45010FE8-BF09-4146-B084-66CB05B66FD9}"/>
          </ac:spMkLst>
        </pc:spChg>
        <pc:spChg chg="mod">
          <ac:chgData name="Rich Black" userId="S::riblack@microsoft.com::b49cc34d-059b-4351-ba76-9f03c1133ec4" providerId="AD" clId="Web-{EE6DB09F-80BC-0000-D168-A5A16EA349EC}" dt="2021-03-02T20:57:21.516" v="77" actId="20577"/>
          <ac:spMkLst>
            <pc:docMk/>
            <pc:sldMk cId="2345068032" sldId="1786"/>
            <ac:spMk id="15" creationId="{BDD64BFD-7ED9-4476-ABC3-6BBAC4A275B2}"/>
          </ac:spMkLst>
        </pc:spChg>
      </pc:sldChg>
      <pc:sldChg chg="modSp">
        <pc:chgData name="Rich Black" userId="S::riblack@microsoft.com::b49cc34d-059b-4351-ba76-9f03c1133ec4" providerId="AD" clId="Web-{EE6DB09F-80BC-0000-D168-A5A16EA349EC}" dt="2021-03-02T21:00:07.307" v="133" actId="20577"/>
        <pc:sldMkLst>
          <pc:docMk/>
          <pc:sldMk cId="2633977528" sldId="1798"/>
        </pc:sldMkLst>
        <pc:spChg chg="mod">
          <ac:chgData name="Rich Black" userId="S::riblack@microsoft.com::b49cc34d-059b-4351-ba76-9f03c1133ec4" providerId="AD" clId="Web-{EE6DB09F-80BC-0000-D168-A5A16EA349EC}" dt="2021-03-02T21:00:07.307" v="133" actId="20577"/>
          <ac:spMkLst>
            <pc:docMk/>
            <pc:sldMk cId="2633977528" sldId="1798"/>
            <ac:spMk id="2" creationId="{45010FE8-BF09-4146-B084-66CB05B66FD9}"/>
          </ac:spMkLst>
        </pc:spChg>
      </pc:sldChg>
      <pc:sldChg chg="modSp">
        <pc:chgData name="Rich Black" userId="S::riblack@microsoft.com::b49cc34d-059b-4351-ba76-9f03c1133ec4" providerId="AD" clId="Web-{EE6DB09F-80BC-0000-D168-A5A16EA349EC}" dt="2021-03-02T20:54:30.583" v="37" actId="20577"/>
        <pc:sldMkLst>
          <pc:docMk/>
          <pc:sldMk cId="1355528084" sldId="1809"/>
        </pc:sldMkLst>
        <pc:spChg chg="mod">
          <ac:chgData name="Rich Black" userId="S::riblack@microsoft.com::b49cc34d-059b-4351-ba76-9f03c1133ec4" providerId="AD" clId="Web-{EE6DB09F-80BC-0000-D168-A5A16EA349EC}" dt="2021-03-02T20:54:30.583" v="37" actId="20577"/>
          <ac:spMkLst>
            <pc:docMk/>
            <pc:sldMk cId="1355528084" sldId="1809"/>
            <ac:spMk id="2" creationId="{45010FE8-BF09-4146-B084-66CB05B66FD9}"/>
          </ac:spMkLst>
        </pc:spChg>
      </pc:sldChg>
      <pc:sldChg chg="modSp">
        <pc:chgData name="Rich Black" userId="S::riblack@microsoft.com::b49cc34d-059b-4351-ba76-9f03c1133ec4" providerId="AD" clId="Web-{EE6DB09F-80BC-0000-D168-A5A16EA349EC}" dt="2021-03-02T20:57:50.283" v="82" actId="20577"/>
        <pc:sldMkLst>
          <pc:docMk/>
          <pc:sldMk cId="1304563117" sldId="3093"/>
        </pc:sldMkLst>
        <pc:spChg chg="mod">
          <ac:chgData name="Rich Black" userId="S::riblack@microsoft.com::b49cc34d-059b-4351-ba76-9f03c1133ec4" providerId="AD" clId="Web-{EE6DB09F-80BC-0000-D168-A5A16EA349EC}" dt="2021-03-02T20:57:50.283" v="82" actId="20577"/>
          <ac:spMkLst>
            <pc:docMk/>
            <pc:sldMk cId="1304563117" sldId="3093"/>
            <ac:spMk id="3" creationId="{3B610B21-2ECC-44E0-86AF-D74811AF72AC}"/>
          </ac:spMkLst>
        </pc:spChg>
      </pc:sldChg>
      <pc:sldChg chg="modSp">
        <pc:chgData name="Rich Black" userId="S::riblack@microsoft.com::b49cc34d-059b-4351-ba76-9f03c1133ec4" providerId="AD" clId="Web-{EE6DB09F-80BC-0000-D168-A5A16EA349EC}" dt="2021-03-02T20:47:41.761" v="3" actId="20577"/>
        <pc:sldMkLst>
          <pc:docMk/>
          <pc:sldMk cId="3188214157" sldId="3139"/>
        </pc:sldMkLst>
        <pc:spChg chg="mod">
          <ac:chgData name="Rich Black" userId="S::riblack@microsoft.com::b49cc34d-059b-4351-ba76-9f03c1133ec4" providerId="AD" clId="Web-{EE6DB09F-80BC-0000-D168-A5A16EA349EC}" dt="2021-03-02T20:47:41.761" v="3" actId="20577"/>
          <ac:spMkLst>
            <pc:docMk/>
            <pc:sldMk cId="3188214157" sldId="3139"/>
            <ac:spMk id="18" creationId="{3995259F-D331-4DDF-8671-034574DD2B09}"/>
          </ac:spMkLst>
        </pc:spChg>
      </pc:sldChg>
      <pc:sldChg chg="modSp">
        <pc:chgData name="Rich Black" userId="S::riblack@microsoft.com::b49cc34d-059b-4351-ba76-9f03c1133ec4" providerId="AD" clId="Web-{EE6DB09F-80BC-0000-D168-A5A16EA349EC}" dt="2021-03-02T20:59:32.274" v="121" actId="20577"/>
        <pc:sldMkLst>
          <pc:docMk/>
          <pc:sldMk cId="42697602" sldId="10244"/>
        </pc:sldMkLst>
        <pc:spChg chg="mod">
          <ac:chgData name="Rich Black" userId="S::riblack@microsoft.com::b49cc34d-059b-4351-ba76-9f03c1133ec4" providerId="AD" clId="Web-{EE6DB09F-80BC-0000-D168-A5A16EA349EC}" dt="2021-03-02T20:58:45.271" v="104" actId="20577"/>
          <ac:spMkLst>
            <pc:docMk/>
            <pc:sldMk cId="42697602" sldId="10244"/>
            <ac:spMk id="2" creationId="{45010FE8-BF09-4146-B084-66CB05B66FD9}"/>
          </ac:spMkLst>
        </pc:spChg>
        <pc:spChg chg="mod">
          <ac:chgData name="Rich Black" userId="S::riblack@microsoft.com::b49cc34d-059b-4351-ba76-9f03c1133ec4" providerId="AD" clId="Web-{EE6DB09F-80BC-0000-D168-A5A16EA349EC}" dt="2021-03-02T20:59:32.274" v="121" actId="20577"/>
          <ac:spMkLst>
            <pc:docMk/>
            <pc:sldMk cId="42697602" sldId="10244"/>
            <ac:spMk id="73" creationId="{353AD336-C0A1-4FD8-8462-73E6CA6BAEFC}"/>
          </ac:spMkLst>
        </pc:spChg>
        <pc:spChg chg="mod">
          <ac:chgData name="Rich Black" userId="S::riblack@microsoft.com::b49cc34d-059b-4351-ba76-9f03c1133ec4" providerId="AD" clId="Web-{EE6DB09F-80BC-0000-D168-A5A16EA349EC}" dt="2021-03-02T20:59:26.758" v="117" actId="20577"/>
          <ac:spMkLst>
            <pc:docMk/>
            <pc:sldMk cId="42697602" sldId="10244"/>
            <ac:spMk id="74" creationId="{588842A2-BF89-4C23-B1B3-2A24B7D784EB}"/>
          </ac:spMkLst>
        </pc:spChg>
        <pc:spChg chg="mod">
          <ac:chgData name="Rich Black" userId="S::riblack@microsoft.com::b49cc34d-059b-4351-ba76-9f03c1133ec4" providerId="AD" clId="Web-{EE6DB09F-80BC-0000-D168-A5A16EA349EC}" dt="2021-03-02T20:59:28.836" v="119" actId="20577"/>
          <ac:spMkLst>
            <pc:docMk/>
            <pc:sldMk cId="42697602" sldId="10244"/>
            <ac:spMk id="81" creationId="{674083F8-A9B5-4D0B-A326-CC3DC8F2215E}"/>
          </ac:spMkLst>
        </pc:spChg>
      </pc:sldChg>
      <pc:sldChg chg="modSp">
        <pc:chgData name="Rich Black" userId="S::riblack@microsoft.com::b49cc34d-059b-4351-ba76-9f03c1133ec4" providerId="AD" clId="Web-{EE6DB09F-80BC-0000-D168-A5A16EA349EC}" dt="2021-03-02T20:55:52.760" v="51" actId="20577"/>
        <pc:sldMkLst>
          <pc:docMk/>
          <pc:sldMk cId="477144629" sldId="10248"/>
        </pc:sldMkLst>
        <pc:spChg chg="mod">
          <ac:chgData name="Rich Black" userId="S::riblack@microsoft.com::b49cc34d-059b-4351-ba76-9f03c1133ec4" providerId="AD" clId="Web-{EE6DB09F-80BC-0000-D168-A5A16EA349EC}" dt="2021-03-02T20:55:27.056" v="46" actId="20577"/>
          <ac:spMkLst>
            <pc:docMk/>
            <pc:sldMk cId="477144629" sldId="10248"/>
            <ac:spMk id="2" creationId="{45010FE8-BF09-4146-B084-66CB05B66FD9}"/>
          </ac:spMkLst>
        </pc:spChg>
        <pc:spChg chg="mod">
          <ac:chgData name="Rich Black" userId="S::riblack@microsoft.com::b49cc34d-059b-4351-ba76-9f03c1133ec4" providerId="AD" clId="Web-{EE6DB09F-80BC-0000-D168-A5A16EA349EC}" dt="2021-03-02T20:55:47.932" v="48" actId="20577"/>
          <ac:spMkLst>
            <pc:docMk/>
            <pc:sldMk cId="477144629" sldId="10248"/>
            <ac:spMk id="11" creationId="{76583F2C-13BC-4FA8-A9DE-F1F764C38F10}"/>
          </ac:spMkLst>
        </pc:spChg>
        <pc:spChg chg="mod">
          <ac:chgData name="Rich Black" userId="S::riblack@microsoft.com::b49cc34d-059b-4351-ba76-9f03c1133ec4" providerId="AD" clId="Web-{EE6DB09F-80BC-0000-D168-A5A16EA349EC}" dt="2021-03-02T20:55:52.760" v="51" actId="20577"/>
          <ac:spMkLst>
            <pc:docMk/>
            <pc:sldMk cId="477144629" sldId="10248"/>
            <ac:spMk id="15" creationId="{BDD64BFD-7ED9-4476-ABC3-6BBAC4A275B2}"/>
          </ac:spMkLst>
        </pc:spChg>
      </pc:sldChg>
      <pc:sldChg chg="modSp">
        <pc:chgData name="Rich Black" userId="S::riblack@microsoft.com::b49cc34d-059b-4351-ba76-9f03c1133ec4" providerId="AD" clId="Web-{EE6DB09F-80BC-0000-D168-A5A16EA349EC}" dt="2021-03-02T20:54:02.410" v="35" actId="20577"/>
        <pc:sldMkLst>
          <pc:docMk/>
          <pc:sldMk cId="526414105" sldId="10289"/>
        </pc:sldMkLst>
        <pc:spChg chg="mod">
          <ac:chgData name="Rich Black" userId="S::riblack@microsoft.com::b49cc34d-059b-4351-ba76-9f03c1133ec4" providerId="AD" clId="Web-{EE6DB09F-80BC-0000-D168-A5A16EA349EC}" dt="2021-03-02T20:54:02.410" v="35" actId="20577"/>
          <ac:spMkLst>
            <pc:docMk/>
            <pc:sldMk cId="526414105" sldId="10289"/>
            <ac:spMk id="5" creationId="{E7503F64-CFA9-4B15-BBFB-8E55D5867F21}"/>
          </ac:spMkLst>
        </pc:spChg>
      </pc:sldChg>
      <pc:sldChg chg="modSp">
        <pc:chgData name="Rich Black" userId="S::riblack@microsoft.com::b49cc34d-059b-4351-ba76-9f03c1133ec4" providerId="AD" clId="Web-{EE6DB09F-80BC-0000-D168-A5A16EA349EC}" dt="2021-03-02T20:59:49.650" v="129" actId="20577"/>
        <pc:sldMkLst>
          <pc:docMk/>
          <pc:sldMk cId="561760022" sldId="10292"/>
        </pc:sldMkLst>
        <pc:spChg chg="mod">
          <ac:chgData name="Rich Black" userId="S::riblack@microsoft.com::b49cc34d-059b-4351-ba76-9f03c1133ec4" providerId="AD" clId="Web-{EE6DB09F-80BC-0000-D168-A5A16EA349EC}" dt="2021-03-02T20:59:49.650" v="129" actId="20577"/>
          <ac:spMkLst>
            <pc:docMk/>
            <pc:sldMk cId="561760022" sldId="10292"/>
            <ac:spMk id="51" creationId="{53C33CF7-B99C-4242-B068-B1E55EFBB73A}"/>
          </ac:spMkLst>
        </pc:spChg>
      </pc:sldChg>
      <pc:sldChg chg="modSp">
        <pc:chgData name="Rich Black" userId="S::riblack@microsoft.com::b49cc34d-059b-4351-ba76-9f03c1133ec4" providerId="AD" clId="Web-{EE6DB09F-80BC-0000-D168-A5A16EA349EC}" dt="2021-03-02T20:59:54.494" v="131" actId="20577"/>
        <pc:sldMkLst>
          <pc:docMk/>
          <pc:sldMk cId="963795105" sldId="10293"/>
        </pc:sldMkLst>
        <pc:spChg chg="mod">
          <ac:chgData name="Rich Black" userId="S::riblack@microsoft.com::b49cc34d-059b-4351-ba76-9f03c1133ec4" providerId="AD" clId="Web-{EE6DB09F-80BC-0000-D168-A5A16EA349EC}" dt="2021-03-02T20:59:54.494" v="131" actId="20577"/>
          <ac:spMkLst>
            <pc:docMk/>
            <pc:sldMk cId="963795105" sldId="10293"/>
            <ac:spMk id="51" creationId="{53C33CF7-B99C-4242-B068-B1E55EFBB73A}"/>
          </ac:spMkLst>
        </pc:spChg>
      </pc:sldChg>
      <pc:sldChg chg="modSp">
        <pc:chgData name="Rich Black" userId="S::riblack@microsoft.com::b49cc34d-059b-4351-ba76-9f03c1133ec4" providerId="AD" clId="Web-{EE6DB09F-80BC-0000-D168-A5A16EA349EC}" dt="2021-03-02T21:00:30.481" v="138" actId="20577"/>
        <pc:sldMkLst>
          <pc:docMk/>
          <pc:sldMk cId="1516490547" sldId="10296"/>
        </pc:sldMkLst>
        <pc:spChg chg="mod">
          <ac:chgData name="Rich Black" userId="S::riblack@microsoft.com::b49cc34d-059b-4351-ba76-9f03c1133ec4" providerId="AD" clId="Web-{EE6DB09F-80BC-0000-D168-A5A16EA349EC}" dt="2021-03-02T21:00:30.481" v="138" actId="20577"/>
          <ac:spMkLst>
            <pc:docMk/>
            <pc:sldMk cId="1516490547" sldId="10296"/>
            <ac:spMk id="2" creationId="{30C4C72C-0F1E-4065-BEEF-C746F1981CD2}"/>
          </ac:spMkLst>
        </pc:spChg>
      </pc:sldChg>
      <pc:sldChg chg="modSp">
        <pc:chgData name="Rich Black" userId="S::riblack@microsoft.com::b49cc34d-059b-4351-ba76-9f03c1133ec4" providerId="AD" clId="Web-{EE6DB09F-80BC-0000-D168-A5A16EA349EC}" dt="2021-03-02T20:59:22.727" v="115" actId="20577"/>
        <pc:sldMkLst>
          <pc:docMk/>
          <pc:sldMk cId="2326029609" sldId="10322"/>
        </pc:sldMkLst>
        <pc:spChg chg="mod">
          <ac:chgData name="Rich Black" userId="S::riblack@microsoft.com::b49cc34d-059b-4351-ba76-9f03c1133ec4" providerId="AD" clId="Web-{EE6DB09F-80BC-0000-D168-A5A16EA349EC}" dt="2021-03-02T20:58:28.879" v="98" actId="20577"/>
          <ac:spMkLst>
            <pc:docMk/>
            <pc:sldMk cId="2326029609" sldId="10322"/>
            <ac:spMk id="2" creationId="{45010FE8-BF09-4146-B084-66CB05B66FD9}"/>
          </ac:spMkLst>
        </pc:spChg>
        <pc:spChg chg="mod">
          <ac:chgData name="Rich Black" userId="S::riblack@microsoft.com::b49cc34d-059b-4351-ba76-9f03c1133ec4" providerId="AD" clId="Web-{EE6DB09F-80BC-0000-D168-A5A16EA349EC}" dt="2021-03-02T20:59:22.727" v="115" actId="20577"/>
          <ac:spMkLst>
            <pc:docMk/>
            <pc:sldMk cId="2326029609" sldId="10322"/>
            <ac:spMk id="73" creationId="{FF1F7C74-DE92-4873-A772-2836D9DCD9FF}"/>
          </ac:spMkLst>
        </pc:spChg>
        <pc:spChg chg="mod">
          <ac:chgData name="Rich Black" userId="S::riblack@microsoft.com::b49cc34d-059b-4351-ba76-9f03c1133ec4" providerId="AD" clId="Web-{EE6DB09F-80BC-0000-D168-A5A16EA349EC}" dt="2021-03-02T20:59:16.226" v="111" actId="20577"/>
          <ac:spMkLst>
            <pc:docMk/>
            <pc:sldMk cId="2326029609" sldId="10322"/>
            <ac:spMk id="74" creationId="{6A8A7D94-BD36-4A0D-88C6-C9AC27073082}"/>
          </ac:spMkLst>
        </pc:spChg>
        <pc:spChg chg="mod">
          <ac:chgData name="Rich Black" userId="S::riblack@microsoft.com::b49cc34d-059b-4351-ba76-9f03c1133ec4" providerId="AD" clId="Web-{EE6DB09F-80BC-0000-D168-A5A16EA349EC}" dt="2021-03-02T20:59:18.633" v="113" actId="20577"/>
          <ac:spMkLst>
            <pc:docMk/>
            <pc:sldMk cId="2326029609" sldId="10322"/>
            <ac:spMk id="81" creationId="{E9B22C39-E0C6-40A8-9B98-F7C15CA87BA6}"/>
          </ac:spMkLst>
        </pc:spChg>
      </pc:sldChg>
      <pc:sldChg chg="modSp">
        <pc:chgData name="Rich Black" userId="S::riblack@microsoft.com::b49cc34d-059b-4351-ba76-9f03c1133ec4" providerId="AD" clId="Web-{EE6DB09F-80BC-0000-D168-A5A16EA349EC}" dt="2021-03-02T20:59:01.038" v="109" actId="20577"/>
        <pc:sldMkLst>
          <pc:docMk/>
          <pc:sldMk cId="2718886074" sldId="10331"/>
        </pc:sldMkLst>
        <pc:spChg chg="mod">
          <ac:chgData name="Rich Black" userId="S::riblack@microsoft.com::b49cc34d-059b-4351-ba76-9f03c1133ec4" providerId="AD" clId="Web-{EE6DB09F-80BC-0000-D168-A5A16EA349EC}" dt="2021-03-02T20:59:01.038" v="109" actId="20577"/>
          <ac:spMkLst>
            <pc:docMk/>
            <pc:sldMk cId="2718886074" sldId="10331"/>
            <ac:spMk id="5" creationId="{E7503F64-CFA9-4B15-BBFB-8E55D5867F21}"/>
          </ac:spMkLst>
        </pc:spChg>
      </pc:sldChg>
      <pc:sldChg chg="modSp">
        <pc:chgData name="Rich Black" userId="S::riblack@microsoft.com::b49cc34d-059b-4351-ba76-9f03c1133ec4" providerId="AD" clId="Web-{EE6DB09F-80BC-0000-D168-A5A16EA349EC}" dt="2021-03-02T21:00:16.105" v="135" actId="20577"/>
        <pc:sldMkLst>
          <pc:docMk/>
          <pc:sldMk cId="3462215717" sldId="10334"/>
        </pc:sldMkLst>
        <pc:spChg chg="mod">
          <ac:chgData name="Rich Black" userId="S::riblack@microsoft.com::b49cc34d-059b-4351-ba76-9f03c1133ec4" providerId="AD" clId="Web-{EE6DB09F-80BC-0000-D168-A5A16EA349EC}" dt="2021-03-02T21:00:16.105" v="135" actId="20577"/>
          <ac:spMkLst>
            <pc:docMk/>
            <pc:sldMk cId="3462215717" sldId="10334"/>
            <ac:spMk id="5" creationId="{E7503F64-CFA9-4B15-BBFB-8E55D5867F21}"/>
          </ac:spMkLst>
        </pc:spChg>
      </pc:sldChg>
      <pc:sldChg chg="modSp">
        <pc:chgData name="Rich Black" userId="S::riblack@microsoft.com::b49cc34d-059b-4351-ba76-9f03c1133ec4" providerId="AD" clId="Web-{EE6DB09F-80BC-0000-D168-A5A16EA349EC}" dt="2021-03-02T20:54:53.600" v="41" actId="20577"/>
        <pc:sldMkLst>
          <pc:docMk/>
          <pc:sldMk cId="2405472054" sldId="10335"/>
        </pc:sldMkLst>
        <pc:spChg chg="mod">
          <ac:chgData name="Rich Black" userId="S::riblack@microsoft.com::b49cc34d-059b-4351-ba76-9f03c1133ec4" providerId="AD" clId="Web-{EE6DB09F-80BC-0000-D168-A5A16EA349EC}" dt="2021-03-02T20:54:53.600" v="41" actId="20577"/>
          <ac:spMkLst>
            <pc:docMk/>
            <pc:sldMk cId="2405472054" sldId="10335"/>
            <ac:spMk id="5" creationId="{E7503F64-CFA9-4B15-BBFB-8E55D5867F21}"/>
          </ac:spMkLst>
        </pc:spChg>
      </pc:sldChg>
      <pc:sldChg chg="modSp">
        <pc:chgData name="Rich Black" userId="S::riblack@microsoft.com::b49cc34d-059b-4351-ba76-9f03c1133ec4" providerId="AD" clId="Web-{EE6DB09F-80BC-0000-D168-A5A16EA349EC}" dt="2021-03-02T20:57:09.593" v="73" actId="20577"/>
        <pc:sldMkLst>
          <pc:docMk/>
          <pc:sldMk cId="2889224282" sldId="10336"/>
        </pc:sldMkLst>
        <pc:spChg chg="mod">
          <ac:chgData name="Rich Black" userId="S::riblack@microsoft.com::b49cc34d-059b-4351-ba76-9f03c1133ec4" providerId="AD" clId="Web-{EE6DB09F-80BC-0000-D168-A5A16EA349EC}" dt="2021-03-02T20:57:09.593" v="73" actId="20577"/>
          <ac:spMkLst>
            <pc:docMk/>
            <pc:sldMk cId="2889224282" sldId="10336"/>
            <ac:spMk id="15" creationId="{BDD64BFD-7ED9-4476-ABC3-6BBAC4A275B2}"/>
          </ac:spMkLst>
        </pc:spChg>
      </pc:sldChg>
      <pc:sldChg chg="modSp">
        <pc:chgData name="Rich Black" userId="S::riblack@microsoft.com::b49cc34d-059b-4351-ba76-9f03c1133ec4" providerId="AD" clId="Web-{EE6DB09F-80BC-0000-D168-A5A16EA349EC}" dt="2021-03-02T20:57:02.108" v="71" actId="20577"/>
        <pc:sldMkLst>
          <pc:docMk/>
          <pc:sldMk cId="494690514" sldId="10337"/>
        </pc:sldMkLst>
        <pc:spChg chg="mod">
          <ac:chgData name="Rich Black" userId="S::riblack@microsoft.com::b49cc34d-059b-4351-ba76-9f03c1133ec4" providerId="AD" clId="Web-{EE6DB09F-80BC-0000-D168-A5A16EA349EC}" dt="2021-03-02T20:55:03.976" v="43" actId="20577"/>
          <ac:spMkLst>
            <pc:docMk/>
            <pc:sldMk cId="494690514" sldId="10337"/>
            <ac:spMk id="2" creationId="{45010FE8-BF09-4146-B084-66CB05B66FD9}"/>
          </ac:spMkLst>
        </pc:spChg>
        <pc:spChg chg="mod">
          <ac:chgData name="Rich Black" userId="S::riblack@microsoft.com::b49cc34d-059b-4351-ba76-9f03c1133ec4" providerId="AD" clId="Web-{EE6DB09F-80BC-0000-D168-A5A16EA349EC}" dt="2021-03-02T20:57:02.108" v="71" actId="20577"/>
          <ac:spMkLst>
            <pc:docMk/>
            <pc:sldMk cId="494690514" sldId="10337"/>
            <ac:spMk id="15" creationId="{BDD64BFD-7ED9-4476-ABC3-6BBAC4A275B2}"/>
          </ac:spMkLst>
        </pc:spChg>
      </pc:sldChg>
      <pc:sldChg chg="modSp">
        <pc:chgData name="Rich Black" userId="S::riblack@microsoft.com::b49cc34d-059b-4351-ba76-9f03c1133ec4" providerId="AD" clId="Web-{EE6DB09F-80BC-0000-D168-A5A16EA349EC}" dt="2021-03-02T20:56:55.014" v="68" actId="20577"/>
        <pc:sldMkLst>
          <pc:docMk/>
          <pc:sldMk cId="2221718970" sldId="10338"/>
        </pc:sldMkLst>
        <pc:spChg chg="mod">
          <ac:chgData name="Rich Black" userId="S::riblack@microsoft.com::b49cc34d-059b-4351-ba76-9f03c1133ec4" providerId="AD" clId="Web-{EE6DB09F-80BC-0000-D168-A5A16EA349EC}" dt="2021-03-02T20:55:15.836" v="45" actId="20577"/>
          <ac:spMkLst>
            <pc:docMk/>
            <pc:sldMk cId="2221718970" sldId="10338"/>
            <ac:spMk id="2" creationId="{45010FE8-BF09-4146-B084-66CB05B66FD9}"/>
          </ac:spMkLst>
        </pc:spChg>
        <pc:spChg chg="mod">
          <ac:chgData name="Rich Black" userId="S::riblack@microsoft.com::b49cc34d-059b-4351-ba76-9f03c1133ec4" providerId="AD" clId="Web-{EE6DB09F-80BC-0000-D168-A5A16EA349EC}" dt="2021-03-02T20:56:55.014" v="68" actId="20577"/>
          <ac:spMkLst>
            <pc:docMk/>
            <pc:sldMk cId="2221718970" sldId="10338"/>
            <ac:spMk id="15" creationId="{BDD64BFD-7ED9-4476-ABC3-6BBAC4A275B2}"/>
          </ac:spMkLst>
        </pc:spChg>
      </pc:sldChg>
      <pc:sldChg chg="modSp">
        <pc:chgData name="Rich Black" userId="S::riblack@microsoft.com::b49cc34d-059b-4351-ba76-9f03c1133ec4" providerId="AD" clId="Web-{EE6DB09F-80BC-0000-D168-A5A16EA349EC}" dt="2021-03-02T20:55:09.101" v="44" actId="20577"/>
        <pc:sldMkLst>
          <pc:docMk/>
          <pc:sldMk cId="1722379815" sldId="10339"/>
        </pc:sldMkLst>
        <pc:spChg chg="mod">
          <ac:chgData name="Rich Black" userId="S::riblack@microsoft.com::b49cc34d-059b-4351-ba76-9f03c1133ec4" providerId="AD" clId="Web-{EE6DB09F-80BC-0000-D168-A5A16EA349EC}" dt="2021-03-02T20:55:09.101" v="44" actId="20577"/>
          <ac:spMkLst>
            <pc:docMk/>
            <pc:sldMk cId="1722379815" sldId="10339"/>
            <ac:spMk id="5" creationId="{E7503F64-CFA9-4B15-BBFB-8E55D5867F21}"/>
          </ac:spMkLst>
        </pc:spChg>
      </pc:sldChg>
      <pc:sldChg chg="modSp">
        <pc:chgData name="Rich Black" userId="S::riblack@microsoft.com::b49cc34d-059b-4351-ba76-9f03c1133ec4" providerId="AD" clId="Web-{EE6DB09F-80BC-0000-D168-A5A16EA349EC}" dt="2021-03-02T20:56:26.434" v="61" actId="20577"/>
        <pc:sldMkLst>
          <pc:docMk/>
          <pc:sldMk cId="1741123349" sldId="10340"/>
        </pc:sldMkLst>
        <pc:spChg chg="mod">
          <ac:chgData name="Rich Black" userId="S::riblack@microsoft.com::b49cc34d-059b-4351-ba76-9f03c1133ec4" providerId="AD" clId="Web-{EE6DB09F-80BC-0000-D168-A5A16EA349EC}" dt="2021-03-02T20:56:26.434" v="61" actId="20577"/>
          <ac:spMkLst>
            <pc:docMk/>
            <pc:sldMk cId="1741123349" sldId="10340"/>
            <ac:spMk id="5" creationId="{E7503F64-CFA9-4B15-BBFB-8E55D5867F21}"/>
          </ac:spMkLst>
        </pc:spChg>
      </pc:sldChg>
      <pc:sldChg chg="modSp">
        <pc:chgData name="Rich Black" userId="S::riblack@microsoft.com::b49cc34d-059b-4351-ba76-9f03c1133ec4" providerId="AD" clId="Web-{EE6DB09F-80BC-0000-D168-A5A16EA349EC}" dt="2021-03-02T20:58:21.582" v="97" actId="20577"/>
        <pc:sldMkLst>
          <pc:docMk/>
          <pc:sldMk cId="3936993880" sldId="2076138100"/>
        </pc:sldMkLst>
        <pc:spChg chg="mod">
          <ac:chgData name="Rich Black" userId="S::riblack@microsoft.com::b49cc34d-059b-4351-ba76-9f03c1133ec4" providerId="AD" clId="Web-{EE6DB09F-80BC-0000-D168-A5A16EA349EC}" dt="2021-03-02T20:58:21.582" v="97" actId="20577"/>
          <ac:spMkLst>
            <pc:docMk/>
            <pc:sldMk cId="3936993880" sldId="2076138100"/>
            <ac:spMk id="5" creationId="{E7503F64-CFA9-4B15-BBFB-8E55D5867F21}"/>
          </ac:spMkLst>
        </pc:spChg>
      </pc:sldChg>
      <pc:sldChg chg="modSp">
        <pc:chgData name="Rich Black" userId="S::riblack@microsoft.com::b49cc34d-059b-4351-ba76-9f03c1133ec4" providerId="AD" clId="Web-{EE6DB09F-80BC-0000-D168-A5A16EA349EC}" dt="2021-03-02T20:58:40.099" v="103" actId="20577"/>
        <pc:sldMkLst>
          <pc:docMk/>
          <pc:sldMk cId="1267417622" sldId="2076138101"/>
        </pc:sldMkLst>
        <pc:spChg chg="mod">
          <ac:chgData name="Rich Black" userId="S::riblack@microsoft.com::b49cc34d-059b-4351-ba76-9f03c1133ec4" providerId="AD" clId="Web-{EE6DB09F-80BC-0000-D168-A5A16EA349EC}" dt="2021-03-02T20:58:40.099" v="103" actId="20577"/>
          <ac:spMkLst>
            <pc:docMk/>
            <pc:sldMk cId="1267417622" sldId="2076138101"/>
            <ac:spMk id="5" creationId="{E7503F64-CFA9-4B15-BBFB-8E55D5867F21}"/>
          </ac:spMkLst>
        </pc:spChg>
      </pc:sldChg>
      <pc:sldChg chg="modSp">
        <pc:chgData name="Rich Black" userId="S::riblack@microsoft.com::b49cc34d-059b-4351-ba76-9f03c1133ec4" providerId="AD" clId="Web-{EE6DB09F-80BC-0000-D168-A5A16EA349EC}" dt="2021-03-02T20:56:42.826" v="65" actId="20577"/>
        <pc:sldMkLst>
          <pc:docMk/>
          <pc:sldMk cId="3478165757" sldId="2076138102"/>
        </pc:sldMkLst>
        <pc:spChg chg="mod">
          <ac:chgData name="Rich Black" userId="S::riblack@microsoft.com::b49cc34d-059b-4351-ba76-9f03c1133ec4" providerId="AD" clId="Web-{EE6DB09F-80BC-0000-D168-A5A16EA349EC}" dt="2021-03-02T20:56:42.826" v="65" actId="20577"/>
          <ac:spMkLst>
            <pc:docMk/>
            <pc:sldMk cId="3478165757" sldId="2076138102"/>
            <ac:spMk id="2" creationId="{45010FE8-BF09-4146-B084-66CB05B66FD9}"/>
          </ac:spMkLst>
        </pc:spChg>
        <pc:spChg chg="mod">
          <ac:chgData name="Rich Black" userId="S::riblack@microsoft.com::b49cc34d-059b-4351-ba76-9f03c1133ec4" providerId="AD" clId="Web-{EE6DB09F-80BC-0000-D168-A5A16EA349EC}" dt="2021-03-02T20:56:06.011" v="53" actId="20577"/>
          <ac:spMkLst>
            <pc:docMk/>
            <pc:sldMk cId="3478165757" sldId="2076138102"/>
            <ac:spMk id="15" creationId="{BDD64BFD-7ED9-4476-ABC3-6BBAC4A275B2}"/>
          </ac:spMkLst>
        </pc:spChg>
      </pc:sldChg>
      <pc:sldChg chg="modSp">
        <pc:chgData name="Rich Black" userId="S::riblack@microsoft.com::b49cc34d-059b-4351-ba76-9f03c1133ec4" providerId="AD" clId="Web-{EE6DB09F-80BC-0000-D168-A5A16EA349EC}" dt="2021-03-02T20:56:32.763" v="63" actId="20577"/>
        <pc:sldMkLst>
          <pc:docMk/>
          <pc:sldMk cId="1154009987" sldId="2076138103"/>
        </pc:sldMkLst>
        <pc:spChg chg="mod">
          <ac:chgData name="Rich Black" userId="S::riblack@microsoft.com::b49cc34d-059b-4351-ba76-9f03c1133ec4" providerId="AD" clId="Web-{EE6DB09F-80BC-0000-D168-A5A16EA349EC}" dt="2021-03-02T20:56:32.763" v="63" actId="20577"/>
          <ac:spMkLst>
            <pc:docMk/>
            <pc:sldMk cId="1154009987" sldId="2076138103"/>
            <ac:spMk id="2" creationId="{45010FE8-BF09-4146-B084-66CB05B66FD9}"/>
          </ac:spMkLst>
        </pc:spChg>
        <pc:spChg chg="mod">
          <ac:chgData name="Rich Black" userId="S::riblack@microsoft.com::b49cc34d-059b-4351-ba76-9f03c1133ec4" providerId="AD" clId="Web-{EE6DB09F-80BC-0000-D168-A5A16EA349EC}" dt="2021-03-02T20:56:14.309" v="57" actId="20577"/>
          <ac:spMkLst>
            <pc:docMk/>
            <pc:sldMk cId="1154009987" sldId="2076138103"/>
            <ac:spMk id="15" creationId="{BDD64BFD-7ED9-4476-ABC3-6BBAC4A275B2}"/>
          </ac:spMkLst>
        </pc:spChg>
      </pc:sldChg>
      <pc:sldChg chg="modSp">
        <pc:chgData name="Rich Black" userId="S::riblack@microsoft.com::b49cc34d-059b-4351-ba76-9f03c1133ec4" providerId="AD" clId="Web-{EE6DB09F-80BC-0000-D168-A5A16EA349EC}" dt="2021-03-02T20:56:38.232" v="64" actId="20577"/>
        <pc:sldMkLst>
          <pc:docMk/>
          <pc:sldMk cId="3157661312" sldId="2076138105"/>
        </pc:sldMkLst>
        <pc:spChg chg="mod">
          <ac:chgData name="Rich Black" userId="S::riblack@microsoft.com::b49cc34d-059b-4351-ba76-9f03c1133ec4" providerId="AD" clId="Web-{EE6DB09F-80BC-0000-D168-A5A16EA349EC}" dt="2021-03-02T20:56:38.232" v="64" actId="20577"/>
          <ac:spMkLst>
            <pc:docMk/>
            <pc:sldMk cId="3157661312" sldId="2076138105"/>
            <ac:spMk id="2" creationId="{45010FE8-BF09-4146-B084-66CB05B66FD9}"/>
          </ac:spMkLst>
        </pc:spChg>
        <pc:spChg chg="mod">
          <ac:chgData name="Rich Black" userId="S::riblack@microsoft.com::b49cc34d-059b-4351-ba76-9f03c1133ec4" providerId="AD" clId="Web-{EE6DB09F-80BC-0000-D168-A5A16EA349EC}" dt="2021-03-02T20:56:10.074" v="55" actId="20577"/>
          <ac:spMkLst>
            <pc:docMk/>
            <pc:sldMk cId="3157661312" sldId="2076138105"/>
            <ac:spMk id="15" creationId="{BDD64BFD-7ED9-4476-ABC3-6BBAC4A275B2}"/>
          </ac:spMkLst>
        </pc:spChg>
      </pc:sldChg>
      <pc:sldChg chg="modSp">
        <pc:chgData name="Rich Black" userId="S::riblack@microsoft.com::b49cc34d-059b-4351-ba76-9f03c1133ec4" providerId="AD" clId="Web-{EE6DB09F-80BC-0000-D168-A5A16EA349EC}" dt="2021-03-02T20:59:43.634" v="127" actId="20577"/>
        <pc:sldMkLst>
          <pc:docMk/>
          <pc:sldMk cId="1756625805" sldId="2076138106"/>
        </pc:sldMkLst>
        <pc:spChg chg="mod">
          <ac:chgData name="Rich Black" userId="S::riblack@microsoft.com::b49cc34d-059b-4351-ba76-9f03c1133ec4" providerId="AD" clId="Web-{EE6DB09F-80BC-0000-D168-A5A16EA349EC}" dt="2021-03-02T20:58:53.193" v="107" actId="20577"/>
          <ac:spMkLst>
            <pc:docMk/>
            <pc:sldMk cId="1756625805" sldId="2076138106"/>
            <ac:spMk id="2" creationId="{45010FE8-BF09-4146-B084-66CB05B66FD9}"/>
          </ac:spMkLst>
        </pc:spChg>
        <pc:spChg chg="mod">
          <ac:chgData name="Rich Black" userId="S::riblack@microsoft.com::b49cc34d-059b-4351-ba76-9f03c1133ec4" providerId="AD" clId="Web-{EE6DB09F-80BC-0000-D168-A5A16EA349EC}" dt="2021-03-02T20:59:43.634" v="127" actId="20577"/>
          <ac:spMkLst>
            <pc:docMk/>
            <pc:sldMk cId="1756625805" sldId="2076138106"/>
            <ac:spMk id="73" creationId="{353AD336-C0A1-4FD8-8462-73E6CA6BAEFC}"/>
          </ac:spMkLst>
        </pc:spChg>
        <pc:spChg chg="mod">
          <ac:chgData name="Rich Black" userId="S::riblack@microsoft.com::b49cc34d-059b-4351-ba76-9f03c1133ec4" providerId="AD" clId="Web-{EE6DB09F-80BC-0000-D168-A5A16EA349EC}" dt="2021-03-02T20:59:36.524" v="123" actId="20577"/>
          <ac:spMkLst>
            <pc:docMk/>
            <pc:sldMk cId="1756625805" sldId="2076138106"/>
            <ac:spMk id="74" creationId="{588842A2-BF89-4C23-B1B3-2A24B7D784EB}"/>
          </ac:spMkLst>
        </pc:spChg>
        <pc:spChg chg="mod">
          <ac:chgData name="Rich Black" userId="S::riblack@microsoft.com::b49cc34d-059b-4351-ba76-9f03c1133ec4" providerId="AD" clId="Web-{EE6DB09F-80BC-0000-D168-A5A16EA349EC}" dt="2021-03-02T20:59:39.259" v="125" actId="20577"/>
          <ac:spMkLst>
            <pc:docMk/>
            <pc:sldMk cId="1756625805" sldId="2076138106"/>
            <ac:spMk id="81" creationId="{674083F8-A9B5-4D0B-A326-CC3DC8F2215E}"/>
          </ac:spMkLst>
        </pc:spChg>
      </pc:sldChg>
      <pc:sldChg chg="modSp">
        <pc:chgData name="Rich Black" userId="S::riblack@microsoft.com::b49cc34d-059b-4351-ba76-9f03c1133ec4" providerId="AD" clId="Web-{EE6DB09F-80BC-0000-D168-A5A16EA349EC}" dt="2021-03-02T20:56:21.356" v="60" actId="20577"/>
        <pc:sldMkLst>
          <pc:docMk/>
          <pc:sldMk cId="994621968" sldId="2076138107"/>
        </pc:sldMkLst>
        <pc:spChg chg="mod">
          <ac:chgData name="Rich Black" userId="S::riblack@microsoft.com::b49cc34d-059b-4351-ba76-9f03c1133ec4" providerId="AD" clId="Web-{EE6DB09F-80BC-0000-D168-A5A16EA349EC}" dt="2021-03-02T20:56:21.356" v="60" actId="20577"/>
          <ac:spMkLst>
            <pc:docMk/>
            <pc:sldMk cId="994621968" sldId="2076138107"/>
            <ac:spMk id="2" creationId="{45010FE8-BF09-4146-B084-66CB05B66FD9}"/>
          </ac:spMkLst>
        </pc:spChg>
        <pc:spChg chg="mod">
          <ac:chgData name="Rich Black" userId="S::riblack@microsoft.com::b49cc34d-059b-4351-ba76-9f03c1133ec4" providerId="AD" clId="Web-{EE6DB09F-80BC-0000-D168-A5A16EA349EC}" dt="2021-03-02T20:56:19.090" v="59" actId="20577"/>
          <ac:spMkLst>
            <pc:docMk/>
            <pc:sldMk cId="994621968" sldId="2076138107"/>
            <ac:spMk id="15" creationId="{BDD64BFD-7ED9-4476-ABC3-6BBAC4A275B2}"/>
          </ac:spMkLst>
        </pc:spChg>
      </pc:sldChg>
      <pc:sldChg chg="modSp">
        <pc:chgData name="Rich Black" userId="S::riblack@microsoft.com::b49cc34d-059b-4351-ba76-9f03c1133ec4" providerId="AD" clId="Web-{EE6DB09F-80BC-0000-D168-A5A16EA349EC}" dt="2021-03-02T20:58:16.316" v="95" actId="20577"/>
        <pc:sldMkLst>
          <pc:docMk/>
          <pc:sldMk cId="1741817657" sldId="2076138108"/>
        </pc:sldMkLst>
        <pc:spChg chg="mod">
          <ac:chgData name="Rich Black" userId="S::riblack@microsoft.com::b49cc34d-059b-4351-ba76-9f03c1133ec4" providerId="AD" clId="Web-{EE6DB09F-80BC-0000-D168-A5A16EA349EC}" dt="2021-03-02T20:58:16.316" v="95" actId="20577"/>
          <ac:spMkLst>
            <pc:docMk/>
            <pc:sldMk cId="1741817657" sldId="2076138108"/>
            <ac:spMk id="15" creationId="{BDD64BFD-7ED9-4476-ABC3-6BBAC4A275B2}"/>
          </ac:spMkLst>
        </pc:spChg>
      </pc:sldChg>
    </pc:docChg>
  </pc:docChgLst>
  <pc:docChgLst>
    <pc:chgData name="Henry Jammes" userId="5f22554b-fd15-4676-8c82-dc6122af2a80" providerId="ADAL" clId="{12E3F1A5-3D41-4985-A221-59F4167716B5}"/>
    <pc:docChg chg="modSld">
      <pc:chgData name="Henry Jammes" userId="5f22554b-fd15-4676-8c82-dc6122af2a80" providerId="ADAL" clId="{12E3F1A5-3D41-4985-A221-59F4167716B5}" dt="2021-07-02T16:56:44.703" v="11" actId="20577"/>
      <pc:docMkLst>
        <pc:docMk/>
      </pc:docMkLst>
      <pc:sldChg chg="modNotesTx">
        <pc:chgData name="Henry Jammes" userId="5f22554b-fd15-4676-8c82-dc6122af2a80" providerId="ADAL" clId="{12E3F1A5-3D41-4985-A221-59F4167716B5}" dt="2021-07-02T16:56:44.703" v="11" actId="20577"/>
        <pc:sldMkLst>
          <pc:docMk/>
          <pc:sldMk cId="2889224282" sldId="10336"/>
        </pc:sldMkLst>
      </pc:sldChg>
      <pc:sldChg chg="modSp mod">
        <pc:chgData name="Henry Jammes" userId="5f22554b-fd15-4676-8c82-dc6122af2a80" providerId="ADAL" clId="{12E3F1A5-3D41-4985-A221-59F4167716B5}" dt="2021-06-29T21:19:20.502" v="9" actId="20577"/>
        <pc:sldMkLst>
          <pc:docMk/>
          <pc:sldMk cId="1207913312" sldId="2076138114"/>
        </pc:sldMkLst>
        <pc:spChg chg="mod">
          <ac:chgData name="Henry Jammes" userId="5f22554b-fd15-4676-8c82-dc6122af2a80" providerId="ADAL" clId="{12E3F1A5-3D41-4985-A221-59F4167716B5}" dt="2021-06-29T21:19:20.502" v="9" actId="20577"/>
          <ac:spMkLst>
            <pc:docMk/>
            <pc:sldMk cId="1207913312" sldId="2076138114"/>
            <ac:spMk id="2" creationId="{45010FE8-BF09-4146-B084-66CB05B66FD9}"/>
          </ac:spMkLst>
        </pc:spChg>
      </pc:sldChg>
    </pc:docChg>
  </pc:docChgLst>
  <pc:docChgLst>
    <pc:chgData name="Rich Black" userId="S::riblack@microsoft.com::b49cc34d-059b-4351-ba76-9f03c1133ec4" providerId="AD" clId="Web-{2FE7B59F-4005-0000-D1F2-3F2FA25F4CF3}"/>
    <pc:docChg chg="modSld">
      <pc:chgData name="Rich Black" userId="S::riblack@microsoft.com::b49cc34d-059b-4351-ba76-9f03c1133ec4" providerId="AD" clId="Web-{2FE7B59F-4005-0000-D1F2-3F2FA25F4CF3}" dt="2021-03-19T21:31:11.131" v="23"/>
      <pc:docMkLst>
        <pc:docMk/>
      </pc:docMkLst>
      <pc:sldChg chg="modNotes">
        <pc:chgData name="Rich Black" userId="S::riblack@microsoft.com::b49cc34d-059b-4351-ba76-9f03c1133ec4" providerId="AD" clId="Web-{2FE7B59F-4005-0000-D1F2-3F2FA25F4CF3}" dt="2021-03-19T21:27:59.276" v="14"/>
        <pc:sldMkLst>
          <pc:docMk/>
          <pc:sldMk cId="477144629" sldId="10248"/>
        </pc:sldMkLst>
      </pc:sldChg>
      <pc:sldChg chg="modNotes">
        <pc:chgData name="Rich Black" userId="S::riblack@microsoft.com::b49cc34d-059b-4351-ba76-9f03c1133ec4" providerId="AD" clId="Web-{2FE7B59F-4005-0000-D1F2-3F2FA25F4CF3}" dt="2021-03-19T21:31:11.131" v="23"/>
        <pc:sldMkLst>
          <pc:docMk/>
          <pc:sldMk cId="2392676120" sldId="2076138119"/>
        </pc:sldMkLst>
      </pc:sldChg>
    </pc:docChg>
  </pc:docChgLst>
  <pc:docChgLst>
    <pc:chgData name="Rich Black" userId="b49cc34d-059b-4351-ba76-9f03c1133ec4" providerId="ADAL" clId="{8DB08962-C92F-4B50-B364-529F6D2630A1}"/>
    <pc:docChg chg="delSld modSection">
      <pc:chgData name="Rich Black" userId="b49cc34d-059b-4351-ba76-9f03c1133ec4" providerId="ADAL" clId="{8DB08962-C92F-4B50-B364-529F6D2630A1}" dt="2021-05-25T22:26:43.216" v="2" actId="47"/>
      <pc:docMkLst>
        <pc:docMk/>
      </pc:docMkLst>
      <pc:sldChg chg="del">
        <pc:chgData name="Rich Black" userId="b49cc34d-059b-4351-ba76-9f03c1133ec4" providerId="ADAL" clId="{8DB08962-C92F-4B50-B364-529F6D2630A1}" dt="2021-05-25T22:26:43.216" v="2" actId="47"/>
        <pc:sldMkLst>
          <pc:docMk/>
          <pc:sldMk cId="2991262194" sldId="10259"/>
        </pc:sldMkLst>
      </pc:sldChg>
      <pc:sldChg chg="del">
        <pc:chgData name="Rich Black" userId="b49cc34d-059b-4351-ba76-9f03c1133ec4" providerId="ADAL" clId="{8DB08962-C92F-4B50-B364-529F6D2630A1}" dt="2021-05-25T22:26:40.999" v="1" actId="47"/>
        <pc:sldMkLst>
          <pc:docMk/>
          <pc:sldMk cId="1516490547" sldId="10296"/>
        </pc:sldMkLst>
      </pc:sldChg>
    </pc:docChg>
  </pc:docChgLst>
  <pc:docChgLst>
    <pc:chgData name="Rich Black" userId="S::riblack@microsoft.com::b49cc34d-059b-4351-ba76-9f03c1133ec4" providerId="AD" clId="Web-{94967525-2423-871D-5C2B-FFE3AB85175C}"/>
    <pc:docChg chg="modSld">
      <pc:chgData name="Rich Black" userId="S::riblack@microsoft.com::b49cc34d-059b-4351-ba76-9f03c1133ec4" providerId="AD" clId="Web-{94967525-2423-871D-5C2B-FFE3AB85175C}" dt="2021-05-21T17:31:32.817" v="13" actId="20577"/>
      <pc:docMkLst>
        <pc:docMk/>
      </pc:docMkLst>
      <pc:sldChg chg="modSp">
        <pc:chgData name="Rich Black" userId="S::riblack@microsoft.com::b49cc34d-059b-4351-ba76-9f03c1133ec4" providerId="AD" clId="Web-{94967525-2423-871D-5C2B-FFE3AB85175C}" dt="2021-05-21T17:31:32.817" v="13" actId="20577"/>
        <pc:sldMkLst>
          <pc:docMk/>
          <pc:sldMk cId="1094870920" sldId="1735"/>
        </pc:sldMkLst>
        <pc:spChg chg="mod">
          <ac:chgData name="Rich Black" userId="S::riblack@microsoft.com::b49cc34d-059b-4351-ba76-9f03c1133ec4" providerId="AD" clId="Web-{94967525-2423-871D-5C2B-FFE3AB85175C}" dt="2021-05-21T17:31:32.817" v="13" actId="20577"/>
          <ac:spMkLst>
            <pc:docMk/>
            <pc:sldMk cId="1094870920" sldId="1735"/>
            <ac:spMk id="5" creationId="{25F2B421-9BE4-413A-803D-5B521689670A}"/>
          </ac:spMkLst>
        </pc:spChg>
      </pc:sldChg>
    </pc:docChg>
  </pc:docChgLst>
  <pc:docChgLst>
    <pc:chgData name="Rich Black" userId="b49cc34d-059b-4351-ba76-9f03c1133ec4" providerId="ADAL" clId="{02368D1F-1E8D-473D-BCF1-5BF7E814B328}"/>
    <pc:docChg chg="undo custSel addSld delSld modSld modSection">
      <pc:chgData name="Rich Black" userId="b49cc34d-059b-4351-ba76-9f03c1133ec4" providerId="ADAL" clId="{02368D1F-1E8D-473D-BCF1-5BF7E814B328}" dt="2021-03-05T19:00:42.715" v="2392" actId="20577"/>
      <pc:docMkLst>
        <pc:docMk/>
      </pc:docMkLst>
      <pc:sldChg chg="modSp">
        <pc:chgData name="Rich Black" userId="b49cc34d-059b-4351-ba76-9f03c1133ec4" providerId="ADAL" clId="{02368D1F-1E8D-473D-BCF1-5BF7E814B328}" dt="2021-03-05T18:58:50.797" v="2351" actId="962"/>
        <pc:sldMkLst>
          <pc:docMk/>
          <pc:sldMk cId="1094870920" sldId="1735"/>
        </pc:sldMkLst>
        <pc:spChg chg="mod">
          <ac:chgData name="Rich Black" userId="b49cc34d-059b-4351-ba76-9f03c1133ec4" providerId="ADAL" clId="{02368D1F-1E8D-473D-BCF1-5BF7E814B328}" dt="2021-03-05T18:58:36.023" v="2348" actId="962"/>
          <ac:spMkLst>
            <pc:docMk/>
            <pc:sldMk cId="1094870920" sldId="1735"/>
            <ac:spMk id="4" creationId="{3E12CF18-F8F2-4922-9567-E9E48B103A20}"/>
          </ac:spMkLst>
        </pc:spChg>
        <pc:spChg chg="mod">
          <ac:chgData name="Rich Black" userId="b49cc34d-059b-4351-ba76-9f03c1133ec4" providerId="ADAL" clId="{02368D1F-1E8D-473D-BCF1-5BF7E814B328}" dt="2021-03-05T18:58:38.957" v="2349" actId="962"/>
          <ac:spMkLst>
            <pc:docMk/>
            <pc:sldMk cId="1094870920" sldId="1735"/>
            <ac:spMk id="6" creationId="{1E0D206A-5ADD-4B31-9AA3-70C7E25C9D13}"/>
          </ac:spMkLst>
        </pc:spChg>
        <pc:spChg chg="mod">
          <ac:chgData name="Rich Black" userId="b49cc34d-059b-4351-ba76-9f03c1133ec4" providerId="ADAL" clId="{02368D1F-1E8D-473D-BCF1-5BF7E814B328}" dt="2021-03-05T18:58:14.013" v="2340" actId="962"/>
          <ac:spMkLst>
            <pc:docMk/>
            <pc:sldMk cId="1094870920" sldId="1735"/>
            <ac:spMk id="42" creationId="{FCCFC8E7-228A-485F-B89E-E8B4B03CC681}"/>
          </ac:spMkLst>
        </pc:spChg>
        <pc:cxnChg chg="mod">
          <ac:chgData name="Rich Black" userId="b49cc34d-059b-4351-ba76-9f03c1133ec4" providerId="ADAL" clId="{02368D1F-1E8D-473D-BCF1-5BF7E814B328}" dt="2021-03-05T18:58:48.725" v="2350" actId="962"/>
          <ac:cxnSpMkLst>
            <pc:docMk/>
            <pc:sldMk cId="1094870920" sldId="1735"/>
            <ac:cxnSpMk id="15" creationId="{51A397C7-102B-43AC-9AB2-15B1092D4DEA}"/>
          </ac:cxnSpMkLst>
        </pc:cxnChg>
        <pc:cxnChg chg="mod">
          <ac:chgData name="Rich Black" userId="b49cc34d-059b-4351-ba76-9f03c1133ec4" providerId="ADAL" clId="{02368D1F-1E8D-473D-BCF1-5BF7E814B328}" dt="2021-03-05T18:58:50.797" v="2351" actId="962"/>
          <ac:cxnSpMkLst>
            <pc:docMk/>
            <pc:sldMk cId="1094870920" sldId="1735"/>
            <ac:cxnSpMk id="16" creationId="{A6522128-A1FB-490C-92E7-4B08B0758291}"/>
          </ac:cxnSpMkLst>
        </pc:cxnChg>
        <pc:cxnChg chg="mod">
          <ac:chgData name="Rich Black" userId="b49cc34d-059b-4351-ba76-9f03c1133ec4" providerId="ADAL" clId="{02368D1F-1E8D-473D-BCF1-5BF7E814B328}" dt="2021-03-05T18:58:15.093" v="2341" actId="962"/>
          <ac:cxnSpMkLst>
            <pc:docMk/>
            <pc:sldMk cId="1094870920" sldId="1735"/>
            <ac:cxnSpMk id="43" creationId="{5906ADDC-D360-4A0F-91FF-B494A9B96AC6}"/>
          </ac:cxnSpMkLst>
        </pc:cxnChg>
        <pc:cxnChg chg="mod">
          <ac:chgData name="Rich Black" userId="b49cc34d-059b-4351-ba76-9f03c1133ec4" providerId="ADAL" clId="{02368D1F-1E8D-473D-BCF1-5BF7E814B328}" dt="2021-03-05T18:58:16.186" v="2342" actId="962"/>
          <ac:cxnSpMkLst>
            <pc:docMk/>
            <pc:sldMk cId="1094870920" sldId="1735"/>
            <ac:cxnSpMk id="44" creationId="{4A8E8564-839D-4D78-B946-D71D10D7FB42}"/>
          </ac:cxnSpMkLst>
        </pc:cxnChg>
        <pc:cxnChg chg="mod">
          <ac:chgData name="Rich Black" userId="b49cc34d-059b-4351-ba76-9f03c1133ec4" providerId="ADAL" clId="{02368D1F-1E8D-473D-BCF1-5BF7E814B328}" dt="2021-03-05T18:58:17.762" v="2343" actId="962"/>
          <ac:cxnSpMkLst>
            <pc:docMk/>
            <pc:sldMk cId="1094870920" sldId="1735"/>
            <ac:cxnSpMk id="46" creationId="{FB913BBF-6FE9-4291-9E49-F6769461052B}"/>
          </ac:cxnSpMkLst>
        </pc:cxnChg>
        <pc:cxnChg chg="mod">
          <ac:chgData name="Rich Black" userId="b49cc34d-059b-4351-ba76-9f03c1133ec4" providerId="ADAL" clId="{02368D1F-1E8D-473D-BCF1-5BF7E814B328}" dt="2021-03-05T18:58:18.764" v="2344" actId="962"/>
          <ac:cxnSpMkLst>
            <pc:docMk/>
            <pc:sldMk cId="1094870920" sldId="1735"/>
            <ac:cxnSpMk id="48" creationId="{7354E8F2-26A2-4CCA-89B8-65B9B53DA07B}"/>
          </ac:cxnSpMkLst>
        </pc:cxnChg>
        <pc:cxnChg chg="mod">
          <ac:chgData name="Rich Black" userId="b49cc34d-059b-4351-ba76-9f03c1133ec4" providerId="ADAL" clId="{02368D1F-1E8D-473D-BCF1-5BF7E814B328}" dt="2021-03-05T18:58:19.803" v="2345" actId="962"/>
          <ac:cxnSpMkLst>
            <pc:docMk/>
            <pc:sldMk cId="1094870920" sldId="1735"/>
            <ac:cxnSpMk id="52" creationId="{721FE680-81D2-484D-B86E-D8BCF74079FD}"/>
          </ac:cxnSpMkLst>
        </pc:cxnChg>
        <pc:cxnChg chg="mod">
          <ac:chgData name="Rich Black" userId="b49cc34d-059b-4351-ba76-9f03c1133ec4" providerId="ADAL" clId="{02368D1F-1E8D-473D-BCF1-5BF7E814B328}" dt="2021-03-05T18:58:20.828" v="2346" actId="962"/>
          <ac:cxnSpMkLst>
            <pc:docMk/>
            <pc:sldMk cId="1094870920" sldId="1735"/>
            <ac:cxnSpMk id="53" creationId="{76FF7EC1-B2EB-4DC5-B055-C580BB6B5166}"/>
          </ac:cxnSpMkLst>
        </pc:cxnChg>
        <pc:cxnChg chg="mod">
          <ac:chgData name="Rich Black" userId="b49cc34d-059b-4351-ba76-9f03c1133ec4" providerId="ADAL" clId="{02368D1F-1E8D-473D-BCF1-5BF7E814B328}" dt="2021-03-05T18:58:27.376" v="2347" actId="962"/>
          <ac:cxnSpMkLst>
            <pc:docMk/>
            <pc:sldMk cId="1094870920" sldId="1735"/>
            <ac:cxnSpMk id="105" creationId="{659FEA74-C3DC-4508-BE4F-3AF4CD4B39B4}"/>
          </ac:cxnSpMkLst>
        </pc:cxnChg>
      </pc:sldChg>
      <pc:sldChg chg="modSp mod addCm modNotesTx">
        <pc:chgData name="Rich Black" userId="b49cc34d-059b-4351-ba76-9f03c1133ec4" providerId="ADAL" clId="{02368D1F-1E8D-473D-BCF1-5BF7E814B328}" dt="2021-03-04T18:35:49.405" v="2172"/>
        <pc:sldMkLst>
          <pc:docMk/>
          <pc:sldMk cId="2345068032" sldId="1786"/>
        </pc:sldMkLst>
        <pc:spChg chg="mod">
          <ac:chgData name="Rich Black" userId="b49cc34d-059b-4351-ba76-9f03c1133ec4" providerId="ADAL" clId="{02368D1F-1E8D-473D-BCF1-5BF7E814B328}" dt="2021-03-04T18:35:49.405" v="2172"/>
          <ac:spMkLst>
            <pc:docMk/>
            <pc:sldMk cId="2345068032" sldId="1786"/>
            <ac:spMk id="15" creationId="{BDD64BFD-7ED9-4476-ABC3-6BBAC4A275B2}"/>
          </ac:spMkLst>
        </pc:spChg>
      </pc:sldChg>
      <pc:sldChg chg="modNotesTx">
        <pc:chgData name="Rich Black" userId="b49cc34d-059b-4351-ba76-9f03c1133ec4" providerId="ADAL" clId="{02368D1F-1E8D-473D-BCF1-5BF7E814B328}" dt="2021-03-03T01:08:22.702" v="1405"/>
        <pc:sldMkLst>
          <pc:docMk/>
          <pc:sldMk cId="1355528084" sldId="1809"/>
        </pc:sldMkLst>
      </pc:sldChg>
      <pc:sldChg chg="modSp">
        <pc:chgData name="Rich Black" userId="b49cc34d-059b-4351-ba76-9f03c1133ec4" providerId="ADAL" clId="{02368D1F-1E8D-473D-BCF1-5BF7E814B328}" dt="2021-03-05T18:57:51.554" v="2339" actId="1036"/>
        <pc:sldMkLst>
          <pc:docMk/>
          <pc:sldMk cId="2567493441" sldId="3087"/>
        </pc:sldMkLst>
        <pc:spChg chg="mod">
          <ac:chgData name="Rich Black" userId="b49cc34d-059b-4351-ba76-9f03c1133ec4" providerId="ADAL" clId="{02368D1F-1E8D-473D-BCF1-5BF7E814B328}" dt="2021-03-05T18:54:20.262" v="2292"/>
          <ac:spMkLst>
            <pc:docMk/>
            <pc:sldMk cId="2567493441" sldId="3087"/>
            <ac:spMk id="2" creationId="{00000000-0000-0000-0000-000000000000}"/>
          </ac:spMkLst>
        </pc:spChg>
        <pc:spChg chg="mod">
          <ac:chgData name="Rich Black" userId="b49cc34d-059b-4351-ba76-9f03c1133ec4" providerId="ADAL" clId="{02368D1F-1E8D-473D-BCF1-5BF7E814B328}" dt="2021-03-05T18:57:51.554" v="2339" actId="1036"/>
          <ac:spMkLst>
            <pc:docMk/>
            <pc:sldMk cId="2567493441" sldId="3087"/>
            <ac:spMk id="15" creationId="{8B788170-FA75-4EF9-B4A8-4BC93CC9CDEA}"/>
          </ac:spMkLst>
        </pc:spChg>
        <pc:spChg chg="mod">
          <ac:chgData name="Rich Black" userId="b49cc34d-059b-4351-ba76-9f03c1133ec4" providerId="ADAL" clId="{02368D1F-1E8D-473D-BCF1-5BF7E814B328}" dt="2021-03-05T18:55:36.597" v="2322" actId="962"/>
          <ac:spMkLst>
            <pc:docMk/>
            <pc:sldMk cId="2567493441" sldId="3087"/>
            <ac:spMk id="19" creationId="{86EEF643-7D0B-4E1A-B09B-36E89847D64E}"/>
          </ac:spMkLst>
        </pc:spChg>
        <pc:spChg chg="mod">
          <ac:chgData name="Rich Black" userId="b49cc34d-059b-4351-ba76-9f03c1133ec4" providerId="ADAL" clId="{02368D1F-1E8D-473D-BCF1-5BF7E814B328}" dt="2021-03-05T18:54:29.863" v="2293"/>
          <ac:spMkLst>
            <pc:docMk/>
            <pc:sldMk cId="2567493441" sldId="3087"/>
            <ac:spMk id="21" creationId="{15247862-C2AD-40E7-960A-592F6E2A2B27}"/>
          </ac:spMkLst>
        </pc:spChg>
        <pc:spChg chg="mod">
          <ac:chgData name="Rich Black" userId="b49cc34d-059b-4351-ba76-9f03c1133ec4" providerId="ADAL" clId="{02368D1F-1E8D-473D-BCF1-5BF7E814B328}" dt="2021-03-05T18:54:48.632" v="2317"/>
          <ac:spMkLst>
            <pc:docMk/>
            <pc:sldMk cId="2567493441" sldId="3087"/>
            <ac:spMk id="51" creationId="{45E8027B-C103-4522-8B97-572E1A99FAF9}"/>
          </ac:spMkLst>
        </pc:spChg>
        <pc:spChg chg="mod">
          <ac:chgData name="Rich Black" userId="b49cc34d-059b-4351-ba76-9f03c1133ec4" providerId="ADAL" clId="{02368D1F-1E8D-473D-BCF1-5BF7E814B328}" dt="2021-03-05T18:57:45.330" v="2338" actId="962"/>
          <ac:spMkLst>
            <pc:docMk/>
            <pc:sldMk cId="2567493441" sldId="3087"/>
            <ac:spMk id="52" creationId="{66D22106-37EB-4F14-A05E-8100125726E7}"/>
          </ac:spMkLst>
        </pc:spChg>
        <pc:spChg chg="mod">
          <ac:chgData name="Rich Black" userId="b49cc34d-059b-4351-ba76-9f03c1133ec4" providerId="ADAL" clId="{02368D1F-1E8D-473D-BCF1-5BF7E814B328}" dt="2021-03-05T18:55:31.017" v="2321" actId="962"/>
          <ac:spMkLst>
            <pc:docMk/>
            <pc:sldMk cId="2567493441" sldId="3087"/>
            <ac:spMk id="53" creationId="{319C0DD1-70F5-4A9E-8D10-39FA7EC07DAF}"/>
          </ac:spMkLst>
        </pc:spChg>
        <pc:spChg chg="mod">
          <ac:chgData name="Rich Black" userId="b49cc34d-059b-4351-ba76-9f03c1133ec4" providerId="ADAL" clId="{02368D1F-1E8D-473D-BCF1-5BF7E814B328}" dt="2021-03-05T18:56:17.218" v="2329" actId="962"/>
          <ac:spMkLst>
            <pc:docMk/>
            <pc:sldMk cId="2567493441" sldId="3087"/>
            <ac:spMk id="75" creationId="{E1AC9BB9-EEDE-4DA1-B1AE-61F87D31B4BF}"/>
          </ac:spMkLst>
        </pc:spChg>
        <pc:spChg chg="mod">
          <ac:chgData name="Rich Black" userId="b49cc34d-059b-4351-ba76-9f03c1133ec4" providerId="ADAL" clId="{02368D1F-1E8D-473D-BCF1-5BF7E814B328}" dt="2021-03-05T18:56:19.569" v="2330" actId="962"/>
          <ac:spMkLst>
            <pc:docMk/>
            <pc:sldMk cId="2567493441" sldId="3087"/>
            <ac:spMk id="85" creationId="{D33E0761-F102-47D8-8E08-F5D0927A9A56}"/>
          </ac:spMkLst>
        </pc:spChg>
        <pc:spChg chg="mod">
          <ac:chgData name="Rich Black" userId="b49cc34d-059b-4351-ba76-9f03c1133ec4" providerId="ADAL" clId="{02368D1F-1E8D-473D-BCF1-5BF7E814B328}" dt="2021-03-05T18:56:23.052" v="2331" actId="962"/>
          <ac:spMkLst>
            <pc:docMk/>
            <pc:sldMk cId="2567493441" sldId="3087"/>
            <ac:spMk id="87" creationId="{AD2CB0F0-7CB4-44A3-9CD8-37CFF6BFE636}"/>
          </ac:spMkLst>
        </pc:spChg>
        <pc:spChg chg="mod">
          <ac:chgData name="Rich Black" userId="b49cc34d-059b-4351-ba76-9f03c1133ec4" providerId="ADAL" clId="{02368D1F-1E8D-473D-BCF1-5BF7E814B328}" dt="2021-03-05T18:56:25.548" v="2332" actId="962"/>
          <ac:spMkLst>
            <pc:docMk/>
            <pc:sldMk cId="2567493441" sldId="3087"/>
            <ac:spMk id="106" creationId="{AC7B08C0-309B-4E31-9522-AAE3B57E7109}"/>
          </ac:spMkLst>
        </pc:spChg>
        <pc:grpChg chg="mod">
          <ac:chgData name="Rich Black" userId="b49cc34d-059b-4351-ba76-9f03c1133ec4" providerId="ADAL" clId="{02368D1F-1E8D-473D-BCF1-5BF7E814B328}" dt="2021-03-05T18:56:39.458" v="2334" actId="962"/>
          <ac:grpSpMkLst>
            <pc:docMk/>
            <pc:sldMk cId="2567493441" sldId="3087"/>
            <ac:grpSpMk id="3" creationId="{65A60699-AF40-4C95-89AA-365867D09A84}"/>
          </ac:grpSpMkLst>
        </pc:grpChg>
        <pc:grpChg chg="mod">
          <ac:chgData name="Rich Black" userId="b49cc34d-059b-4351-ba76-9f03c1133ec4" providerId="ADAL" clId="{02368D1F-1E8D-473D-BCF1-5BF7E814B328}" dt="2021-03-05T18:56:06.094" v="2325" actId="962"/>
          <ac:grpSpMkLst>
            <pc:docMk/>
            <pc:sldMk cId="2567493441" sldId="3087"/>
            <ac:grpSpMk id="5" creationId="{34262F06-2160-47A5-896D-445702066946}"/>
          </ac:grpSpMkLst>
        </pc:grpChg>
        <pc:grpChg chg="mod">
          <ac:chgData name="Rich Black" userId="b49cc34d-059b-4351-ba76-9f03c1133ec4" providerId="ADAL" clId="{02368D1F-1E8D-473D-BCF1-5BF7E814B328}" dt="2021-03-05T18:56:14.658" v="2328" actId="962"/>
          <ac:grpSpMkLst>
            <pc:docMk/>
            <pc:sldMk cId="2567493441" sldId="3087"/>
            <ac:grpSpMk id="6" creationId="{911A84D5-D13C-4E37-8C45-0A2C78B54FF8}"/>
          </ac:grpSpMkLst>
        </pc:grpChg>
        <pc:grpChg chg="mod">
          <ac:chgData name="Rich Black" userId="b49cc34d-059b-4351-ba76-9f03c1133ec4" providerId="ADAL" clId="{02368D1F-1E8D-473D-BCF1-5BF7E814B328}" dt="2021-03-05T18:56:47.470" v="2335" actId="962"/>
          <ac:grpSpMkLst>
            <pc:docMk/>
            <pc:sldMk cId="2567493441" sldId="3087"/>
            <ac:grpSpMk id="17" creationId="{7CA9523E-2DB7-484E-8650-7348B904C503}"/>
          </ac:grpSpMkLst>
        </pc:grpChg>
        <pc:grpChg chg="mod">
          <ac:chgData name="Rich Black" userId="b49cc34d-059b-4351-ba76-9f03c1133ec4" providerId="ADAL" clId="{02368D1F-1E8D-473D-BCF1-5BF7E814B328}" dt="2021-03-05T18:56:11.177" v="2326" actId="962"/>
          <ac:grpSpMkLst>
            <pc:docMk/>
            <pc:sldMk cId="2567493441" sldId="3087"/>
            <ac:grpSpMk id="67" creationId="{294E6E6F-8115-4BAA-A37D-2342C7797B52}"/>
          </ac:grpSpMkLst>
        </pc:grpChg>
        <pc:grpChg chg="mod">
          <ac:chgData name="Rich Black" userId="b49cc34d-059b-4351-ba76-9f03c1133ec4" providerId="ADAL" clId="{02368D1F-1E8D-473D-BCF1-5BF7E814B328}" dt="2021-03-05T18:56:12.175" v="2327" actId="962"/>
          <ac:grpSpMkLst>
            <pc:docMk/>
            <pc:sldMk cId="2567493441" sldId="3087"/>
            <ac:grpSpMk id="70" creationId="{9E331BFB-6D6B-4A72-8340-B9B745B6DEE9}"/>
          </ac:grpSpMkLst>
        </pc:grpChg>
        <pc:grpChg chg="mod">
          <ac:chgData name="Rich Black" userId="b49cc34d-059b-4351-ba76-9f03c1133ec4" providerId="ADAL" clId="{02368D1F-1E8D-473D-BCF1-5BF7E814B328}" dt="2021-03-05T18:56:49.703" v="2336" actId="962"/>
          <ac:grpSpMkLst>
            <pc:docMk/>
            <pc:sldMk cId="2567493441" sldId="3087"/>
            <ac:grpSpMk id="138" creationId="{8B3CE1C8-1EE3-4407-9407-502C4150EF09}"/>
          </ac:grpSpMkLst>
        </pc:grpChg>
        <pc:grpChg chg="mod">
          <ac:chgData name="Rich Black" userId="b49cc34d-059b-4351-ba76-9f03c1133ec4" providerId="ADAL" clId="{02368D1F-1E8D-473D-BCF1-5BF7E814B328}" dt="2021-03-05T18:56:52.321" v="2337" actId="962"/>
          <ac:grpSpMkLst>
            <pc:docMk/>
            <pc:sldMk cId="2567493441" sldId="3087"/>
            <ac:grpSpMk id="144" creationId="{75E6C490-27C5-464E-B9AA-68C06DC5E379}"/>
          </ac:grpSpMkLst>
        </pc:grpChg>
        <pc:cxnChg chg="mod">
          <ac:chgData name="Rich Black" userId="b49cc34d-059b-4351-ba76-9f03c1133ec4" providerId="ADAL" clId="{02368D1F-1E8D-473D-BCF1-5BF7E814B328}" dt="2021-03-05T18:54:40.817" v="2295" actId="962"/>
          <ac:cxnSpMkLst>
            <pc:docMk/>
            <pc:sldMk cId="2567493441" sldId="3087"/>
            <ac:cxnSpMk id="108" creationId="{940BDD52-E2E4-4BED-B0C7-A59AAC352D97}"/>
          </ac:cxnSpMkLst>
        </pc:cxnChg>
        <pc:cxnChg chg="mod">
          <ac:chgData name="Rich Black" userId="b49cc34d-059b-4351-ba76-9f03c1133ec4" providerId="ADAL" clId="{02368D1F-1E8D-473D-BCF1-5BF7E814B328}" dt="2021-03-05T18:54:52.639" v="2318" actId="962"/>
          <ac:cxnSpMkLst>
            <pc:docMk/>
            <pc:sldMk cId="2567493441" sldId="3087"/>
            <ac:cxnSpMk id="110" creationId="{5620C0C8-DA0B-4BA3-AC09-84734C8E8B5C}"/>
          </ac:cxnSpMkLst>
        </pc:cxnChg>
      </pc:sldChg>
      <pc:sldChg chg="modSp">
        <pc:chgData name="Rich Black" userId="b49cc34d-059b-4351-ba76-9f03c1133ec4" providerId="ADAL" clId="{02368D1F-1E8D-473D-BCF1-5BF7E814B328}" dt="2021-03-05T18:53:49.294" v="2282"/>
        <pc:sldMkLst>
          <pc:docMk/>
          <pc:sldMk cId="3188214157" sldId="3139"/>
        </pc:sldMkLst>
        <pc:spChg chg="mod">
          <ac:chgData name="Rich Black" userId="b49cc34d-059b-4351-ba76-9f03c1133ec4" providerId="ADAL" clId="{02368D1F-1E8D-473D-BCF1-5BF7E814B328}" dt="2021-03-05T18:53:29.038" v="2281" actId="962"/>
          <ac:spMkLst>
            <pc:docMk/>
            <pc:sldMk cId="3188214157" sldId="3139"/>
            <ac:spMk id="4" creationId="{9C688989-C678-4EEB-A04D-D19F3B124FD8}"/>
          </ac:spMkLst>
        </pc:spChg>
        <pc:spChg chg="mod">
          <ac:chgData name="Rich Black" userId="b49cc34d-059b-4351-ba76-9f03c1133ec4" providerId="ADAL" clId="{02368D1F-1E8D-473D-BCF1-5BF7E814B328}" dt="2021-03-05T18:53:49.294" v="2282"/>
          <ac:spMkLst>
            <pc:docMk/>
            <pc:sldMk cId="3188214157" sldId="3139"/>
            <ac:spMk id="18" creationId="{3995259F-D331-4DDF-8671-034574DD2B09}"/>
          </ac:spMkLst>
        </pc:spChg>
        <pc:graphicFrameChg chg="mod">
          <ac:chgData name="Rich Black" userId="b49cc34d-059b-4351-ba76-9f03c1133ec4" providerId="ADAL" clId="{02368D1F-1E8D-473D-BCF1-5BF7E814B328}" dt="2021-03-05T18:53:25.664" v="2280" actId="962"/>
          <ac:graphicFrameMkLst>
            <pc:docMk/>
            <pc:sldMk cId="3188214157" sldId="3139"/>
            <ac:graphicFrameMk id="5" creationId="{1AAB675F-0E53-4F4A-8014-781B09191E92}"/>
          </ac:graphicFrameMkLst>
        </pc:graphicFrameChg>
      </pc:sldChg>
      <pc:sldChg chg="del">
        <pc:chgData name="Rich Black" userId="b49cc34d-059b-4351-ba76-9f03c1133ec4" providerId="ADAL" clId="{02368D1F-1E8D-473D-BCF1-5BF7E814B328}" dt="2021-03-03T23:53:02.848" v="2058" actId="47"/>
        <pc:sldMkLst>
          <pc:docMk/>
          <pc:sldMk cId="2448557074" sldId="10237"/>
        </pc:sldMkLst>
      </pc:sldChg>
      <pc:sldChg chg="modNotesTx">
        <pc:chgData name="Rich Black" userId="b49cc34d-059b-4351-ba76-9f03c1133ec4" providerId="ADAL" clId="{02368D1F-1E8D-473D-BCF1-5BF7E814B328}" dt="2021-03-03T04:04:49.586" v="1473"/>
        <pc:sldMkLst>
          <pc:docMk/>
          <pc:sldMk cId="42697602" sldId="10244"/>
        </pc:sldMkLst>
      </pc:sldChg>
      <pc:sldChg chg="addSp delSp modSp mod modNotesTx">
        <pc:chgData name="Rich Black" userId="b49cc34d-059b-4351-ba76-9f03c1133ec4" providerId="ADAL" clId="{02368D1F-1E8D-473D-BCF1-5BF7E814B328}" dt="2021-03-04T17:20:21.427" v="2166"/>
        <pc:sldMkLst>
          <pc:docMk/>
          <pc:sldMk cId="477144629" sldId="10248"/>
        </pc:sldMkLst>
        <pc:spChg chg="mod">
          <ac:chgData name="Rich Black" userId="b49cc34d-059b-4351-ba76-9f03c1133ec4" providerId="ADAL" clId="{02368D1F-1E8D-473D-BCF1-5BF7E814B328}" dt="2021-03-03T23:29:54.346" v="1809" actId="20577"/>
          <ac:spMkLst>
            <pc:docMk/>
            <pc:sldMk cId="477144629" sldId="10248"/>
            <ac:spMk id="2" creationId="{45010FE8-BF09-4146-B084-66CB05B66FD9}"/>
          </ac:spMkLst>
        </pc:spChg>
        <pc:spChg chg="mod">
          <ac:chgData name="Rich Black" userId="b49cc34d-059b-4351-ba76-9f03c1133ec4" providerId="ADAL" clId="{02368D1F-1E8D-473D-BCF1-5BF7E814B328}" dt="2021-03-04T17:20:21.427" v="2166"/>
          <ac:spMkLst>
            <pc:docMk/>
            <pc:sldMk cId="477144629" sldId="10248"/>
            <ac:spMk id="15" creationId="{BDD64BFD-7ED9-4476-ABC3-6BBAC4A275B2}"/>
          </ac:spMkLst>
        </pc:spChg>
        <pc:spChg chg="add del">
          <ac:chgData name="Rich Black" userId="b49cc34d-059b-4351-ba76-9f03c1133ec4" providerId="ADAL" clId="{02368D1F-1E8D-473D-BCF1-5BF7E814B328}" dt="2021-03-04T17:20:18.631" v="2165" actId="22"/>
          <ac:spMkLst>
            <pc:docMk/>
            <pc:sldMk cId="477144629" sldId="10248"/>
            <ac:spMk id="17" creationId="{90903906-090A-473F-87C2-B9080C885DD4}"/>
          </ac:spMkLst>
        </pc:spChg>
      </pc:sldChg>
      <pc:sldChg chg="modSp">
        <pc:chgData name="Rich Black" userId="b49cc34d-059b-4351-ba76-9f03c1133ec4" providerId="ADAL" clId="{02368D1F-1E8D-473D-BCF1-5BF7E814B328}" dt="2021-03-05T19:00:42.715" v="2392" actId="20577"/>
        <pc:sldMkLst>
          <pc:docMk/>
          <pc:sldMk cId="2991262194" sldId="10259"/>
        </pc:sldMkLst>
        <pc:spChg chg="mod">
          <ac:chgData name="Rich Black" userId="b49cc34d-059b-4351-ba76-9f03c1133ec4" providerId="ADAL" clId="{02368D1F-1E8D-473D-BCF1-5BF7E814B328}" dt="2021-03-05T19:00:42.715" v="2392" actId="20577"/>
          <ac:spMkLst>
            <pc:docMk/>
            <pc:sldMk cId="2991262194" sldId="10259"/>
            <ac:spMk id="2" creationId="{95C4FA37-EDDD-4301-A3B8-3D990F8C836C}"/>
          </ac:spMkLst>
        </pc:spChg>
      </pc:sldChg>
      <pc:sldChg chg="del">
        <pc:chgData name="Rich Black" userId="b49cc34d-059b-4351-ba76-9f03c1133ec4" providerId="ADAL" clId="{02368D1F-1E8D-473D-BCF1-5BF7E814B328}" dt="2021-03-05T19:00:27.691" v="2374" actId="2696"/>
        <pc:sldMkLst>
          <pc:docMk/>
          <pc:sldMk cId="3662841844" sldId="10264"/>
        </pc:sldMkLst>
      </pc:sldChg>
      <pc:sldChg chg="del">
        <pc:chgData name="Rich Black" userId="b49cc34d-059b-4351-ba76-9f03c1133ec4" providerId="ADAL" clId="{02368D1F-1E8D-473D-BCF1-5BF7E814B328}" dt="2021-03-05T19:00:18.493" v="2368" actId="2696"/>
        <pc:sldMkLst>
          <pc:docMk/>
          <pc:sldMk cId="1339202614" sldId="10265"/>
        </pc:sldMkLst>
      </pc:sldChg>
      <pc:sldChg chg="del">
        <pc:chgData name="Rich Black" userId="b49cc34d-059b-4351-ba76-9f03c1133ec4" providerId="ADAL" clId="{02368D1F-1E8D-473D-BCF1-5BF7E814B328}" dt="2021-03-05T19:00:18.532" v="2371" actId="2696"/>
        <pc:sldMkLst>
          <pc:docMk/>
          <pc:sldMk cId="967392529" sldId="10266"/>
        </pc:sldMkLst>
      </pc:sldChg>
      <pc:sldChg chg="del">
        <pc:chgData name="Rich Black" userId="b49cc34d-059b-4351-ba76-9f03c1133ec4" providerId="ADAL" clId="{02368D1F-1E8D-473D-BCF1-5BF7E814B328}" dt="2021-03-05T19:00:18.547" v="2372" actId="2696"/>
        <pc:sldMkLst>
          <pc:docMk/>
          <pc:sldMk cId="3310678658" sldId="10267"/>
        </pc:sldMkLst>
      </pc:sldChg>
      <pc:sldChg chg="del">
        <pc:chgData name="Rich Black" userId="b49cc34d-059b-4351-ba76-9f03c1133ec4" providerId="ADAL" clId="{02368D1F-1E8D-473D-BCF1-5BF7E814B328}" dt="2021-03-05T19:00:18.501" v="2369" actId="2696"/>
        <pc:sldMkLst>
          <pc:docMk/>
          <pc:sldMk cId="142668880" sldId="10268"/>
        </pc:sldMkLst>
      </pc:sldChg>
      <pc:sldChg chg="del">
        <pc:chgData name="Rich Black" userId="b49cc34d-059b-4351-ba76-9f03c1133ec4" providerId="ADAL" clId="{02368D1F-1E8D-473D-BCF1-5BF7E814B328}" dt="2021-03-05T19:00:18.517" v="2370" actId="2696"/>
        <pc:sldMkLst>
          <pc:docMk/>
          <pc:sldMk cId="1430658630" sldId="10270"/>
        </pc:sldMkLst>
      </pc:sldChg>
      <pc:sldChg chg="del">
        <pc:chgData name="Rich Black" userId="b49cc34d-059b-4351-ba76-9f03c1133ec4" providerId="ADAL" clId="{02368D1F-1E8D-473D-BCF1-5BF7E814B328}" dt="2021-03-05T19:00:18.564" v="2373" actId="2696"/>
        <pc:sldMkLst>
          <pc:docMk/>
          <pc:sldMk cId="938064329" sldId="10272"/>
        </pc:sldMkLst>
      </pc:sldChg>
      <pc:sldChg chg="modSp add del mod modNotesTx">
        <pc:chgData name="Rich Black" userId="b49cc34d-059b-4351-ba76-9f03c1133ec4" providerId="ADAL" clId="{02368D1F-1E8D-473D-BCF1-5BF7E814B328}" dt="2021-03-04T18:43:19.759" v="2269" actId="20577"/>
        <pc:sldMkLst>
          <pc:docMk/>
          <pc:sldMk cId="545847001" sldId="10288"/>
        </pc:sldMkLst>
        <pc:spChg chg="mod">
          <ac:chgData name="Rich Black" userId="b49cc34d-059b-4351-ba76-9f03c1133ec4" providerId="ADAL" clId="{02368D1F-1E8D-473D-BCF1-5BF7E814B328}" dt="2021-03-04T18:43:19.759" v="2269" actId="20577"/>
          <ac:spMkLst>
            <pc:docMk/>
            <pc:sldMk cId="545847001" sldId="10288"/>
            <ac:spMk id="45" creationId="{9CF9285A-7BFF-451A-BA78-1DA1104DBBB8}"/>
          </ac:spMkLst>
        </pc:spChg>
      </pc:sldChg>
      <pc:sldChg chg="modSp">
        <pc:chgData name="Rich Black" userId="b49cc34d-059b-4351-ba76-9f03c1133ec4" providerId="ADAL" clId="{02368D1F-1E8D-473D-BCF1-5BF7E814B328}" dt="2021-03-05T19:00:35.547" v="2383" actId="20577"/>
        <pc:sldMkLst>
          <pc:docMk/>
          <pc:sldMk cId="1516490547" sldId="10296"/>
        </pc:sldMkLst>
        <pc:spChg chg="mod">
          <ac:chgData name="Rich Black" userId="b49cc34d-059b-4351-ba76-9f03c1133ec4" providerId="ADAL" clId="{02368D1F-1E8D-473D-BCF1-5BF7E814B328}" dt="2021-03-05T19:00:35.547" v="2383" actId="20577"/>
          <ac:spMkLst>
            <pc:docMk/>
            <pc:sldMk cId="1516490547" sldId="10296"/>
            <ac:spMk id="2" creationId="{30C4C72C-0F1E-4065-BEEF-C746F1981CD2}"/>
          </ac:spMkLst>
        </pc:spChg>
      </pc:sldChg>
      <pc:sldChg chg="modSp mod modNotesTx">
        <pc:chgData name="Rich Black" userId="b49cc34d-059b-4351-ba76-9f03c1133ec4" providerId="ADAL" clId="{02368D1F-1E8D-473D-BCF1-5BF7E814B328}" dt="2021-03-03T23:44:08.610" v="2045" actId="1035"/>
        <pc:sldMkLst>
          <pc:docMk/>
          <pc:sldMk cId="2326029609" sldId="10322"/>
        </pc:sldMkLst>
        <pc:spChg chg="mod">
          <ac:chgData name="Rich Black" userId="b49cc34d-059b-4351-ba76-9f03c1133ec4" providerId="ADAL" clId="{02368D1F-1E8D-473D-BCF1-5BF7E814B328}" dt="2021-03-03T23:41:40.019" v="1890"/>
          <ac:spMkLst>
            <pc:docMk/>
            <pc:sldMk cId="2326029609" sldId="10322"/>
            <ac:spMk id="69" creationId="{50D6B578-80DC-4681-97BF-DEEE776C9F6D}"/>
          </ac:spMkLst>
        </pc:spChg>
        <pc:spChg chg="mod">
          <ac:chgData name="Rich Black" userId="b49cc34d-059b-4351-ba76-9f03c1133ec4" providerId="ADAL" clId="{02368D1F-1E8D-473D-BCF1-5BF7E814B328}" dt="2021-03-03T23:43:59.720" v="2014" actId="14100"/>
          <ac:spMkLst>
            <pc:docMk/>
            <pc:sldMk cId="2326029609" sldId="10322"/>
            <ac:spMk id="74" creationId="{6A8A7D94-BD36-4A0D-88C6-C9AC27073082}"/>
          </ac:spMkLst>
        </pc:spChg>
        <pc:spChg chg="mod">
          <ac:chgData name="Rich Black" userId="b49cc34d-059b-4351-ba76-9f03c1133ec4" providerId="ADAL" clId="{02368D1F-1E8D-473D-BCF1-5BF7E814B328}" dt="2021-03-03T23:43:37.026" v="1940" actId="14100"/>
          <ac:spMkLst>
            <pc:docMk/>
            <pc:sldMk cId="2326029609" sldId="10322"/>
            <ac:spMk id="81" creationId="{E9B22C39-E0C6-40A8-9B98-F7C15CA87BA6}"/>
          </ac:spMkLst>
        </pc:spChg>
        <pc:spChg chg="mod">
          <ac:chgData name="Rich Black" userId="b49cc34d-059b-4351-ba76-9f03c1133ec4" providerId="ADAL" clId="{02368D1F-1E8D-473D-BCF1-5BF7E814B328}" dt="2021-03-03T23:43:25.054" v="1938" actId="20577"/>
          <ac:spMkLst>
            <pc:docMk/>
            <pc:sldMk cId="2326029609" sldId="10322"/>
            <ac:spMk id="83" creationId="{F6789373-0A28-441F-A936-6F4BC23505BD}"/>
          </ac:spMkLst>
        </pc:spChg>
        <pc:spChg chg="mod">
          <ac:chgData name="Rich Black" userId="b49cc34d-059b-4351-ba76-9f03c1133ec4" providerId="ADAL" clId="{02368D1F-1E8D-473D-BCF1-5BF7E814B328}" dt="2021-03-03T23:42:11.202" v="1896" actId="20577"/>
          <ac:spMkLst>
            <pc:docMk/>
            <pc:sldMk cId="2326029609" sldId="10322"/>
            <ac:spMk id="88" creationId="{C7367E20-A060-4B4B-80B7-5252F654DA40}"/>
          </ac:spMkLst>
        </pc:spChg>
        <pc:grpChg chg="mod">
          <ac:chgData name="Rich Black" userId="b49cc34d-059b-4351-ba76-9f03c1133ec4" providerId="ADAL" clId="{02368D1F-1E8D-473D-BCF1-5BF7E814B328}" dt="2021-03-03T23:43:45.822" v="1977" actId="1036"/>
          <ac:grpSpMkLst>
            <pc:docMk/>
            <pc:sldMk cId="2326029609" sldId="10322"/>
            <ac:grpSpMk id="68" creationId="{65A602D4-B394-4A96-97AF-840BD2D33002}"/>
          </ac:grpSpMkLst>
        </pc:grpChg>
        <pc:grpChg chg="mod">
          <ac:chgData name="Rich Black" userId="b49cc34d-059b-4351-ba76-9f03c1133ec4" providerId="ADAL" clId="{02368D1F-1E8D-473D-BCF1-5BF7E814B328}" dt="2021-03-03T23:44:08.610" v="2045" actId="1035"/>
          <ac:grpSpMkLst>
            <pc:docMk/>
            <pc:sldMk cId="2326029609" sldId="10322"/>
            <ac:grpSpMk id="82" creationId="{8FA04423-EC22-4F58-88C4-53A72196613D}"/>
          </ac:grpSpMkLst>
        </pc:grpChg>
        <pc:cxnChg chg="mod">
          <ac:chgData name="Rich Black" userId="b49cc34d-059b-4351-ba76-9f03c1133ec4" providerId="ADAL" clId="{02368D1F-1E8D-473D-BCF1-5BF7E814B328}" dt="2021-03-03T23:43:53.618" v="2012" actId="1036"/>
          <ac:cxnSpMkLst>
            <pc:docMk/>
            <pc:sldMk cId="2326029609" sldId="10322"/>
            <ac:cxnSpMk id="67" creationId="{7A7227CA-76E4-4B25-81A9-41E84F82A902}"/>
          </ac:cxnSpMkLst>
        </pc:cxnChg>
      </pc:sldChg>
      <pc:sldChg chg="modSp mod">
        <pc:chgData name="Rich Black" userId="b49cc34d-059b-4351-ba76-9f03c1133ec4" providerId="ADAL" clId="{02368D1F-1E8D-473D-BCF1-5BF7E814B328}" dt="2021-03-05T18:52:14.042" v="2275" actId="33553"/>
        <pc:sldMkLst>
          <pc:docMk/>
          <pc:sldMk cId="2718886074" sldId="10331"/>
        </pc:sldMkLst>
        <pc:spChg chg="mod">
          <ac:chgData name="Rich Black" userId="b49cc34d-059b-4351-ba76-9f03c1133ec4" providerId="ADAL" clId="{02368D1F-1E8D-473D-BCF1-5BF7E814B328}" dt="2021-03-05T18:52:14.042" v="2275" actId="33553"/>
          <ac:spMkLst>
            <pc:docMk/>
            <pc:sldMk cId="2718886074" sldId="10331"/>
            <ac:spMk id="4" creationId="{D4A6C5B7-1FF9-40ED-B5CF-C60C02256475}"/>
          </ac:spMkLst>
        </pc:spChg>
      </pc:sldChg>
      <pc:sldChg chg="modSp">
        <pc:chgData name="Rich Black" userId="b49cc34d-059b-4351-ba76-9f03c1133ec4" providerId="ADAL" clId="{02368D1F-1E8D-473D-BCF1-5BF7E814B328}" dt="2021-03-05T18:59:53.665" v="2367" actId="20577"/>
        <pc:sldMkLst>
          <pc:docMk/>
          <pc:sldMk cId="3462215717" sldId="10334"/>
        </pc:sldMkLst>
        <pc:spChg chg="mod">
          <ac:chgData name="Rich Black" userId="b49cc34d-059b-4351-ba76-9f03c1133ec4" providerId="ADAL" clId="{02368D1F-1E8D-473D-BCF1-5BF7E814B328}" dt="2021-03-05T18:59:53.665" v="2367" actId="20577"/>
          <ac:spMkLst>
            <pc:docMk/>
            <pc:sldMk cId="3462215717" sldId="10334"/>
            <ac:spMk id="5" creationId="{E7503F64-CFA9-4B15-BBFB-8E55D5867F21}"/>
          </ac:spMkLst>
        </pc:spChg>
      </pc:sldChg>
      <pc:sldChg chg="modSp mod">
        <pc:chgData name="Rich Black" userId="b49cc34d-059b-4351-ba76-9f03c1133ec4" providerId="ADAL" clId="{02368D1F-1E8D-473D-BCF1-5BF7E814B328}" dt="2021-03-05T18:51:12.722" v="2270" actId="33553"/>
        <pc:sldMkLst>
          <pc:docMk/>
          <pc:sldMk cId="2405472054" sldId="10335"/>
        </pc:sldMkLst>
        <pc:spChg chg="mod">
          <ac:chgData name="Rich Black" userId="b49cc34d-059b-4351-ba76-9f03c1133ec4" providerId="ADAL" clId="{02368D1F-1E8D-473D-BCF1-5BF7E814B328}" dt="2021-03-05T18:51:12.722" v="2270" actId="33553"/>
          <ac:spMkLst>
            <pc:docMk/>
            <pc:sldMk cId="2405472054" sldId="10335"/>
            <ac:spMk id="3" creationId="{6F662F3A-B934-415E-B08B-7D443970BE63}"/>
          </ac:spMkLst>
        </pc:spChg>
      </pc:sldChg>
      <pc:sldChg chg="modSp mod modNotesTx">
        <pc:chgData name="Rich Black" userId="b49cc34d-059b-4351-ba76-9f03c1133ec4" providerId="ADAL" clId="{02368D1F-1E8D-473D-BCF1-5BF7E814B328}" dt="2021-03-04T18:36:01.709" v="2177" actId="20577"/>
        <pc:sldMkLst>
          <pc:docMk/>
          <pc:sldMk cId="2889224282" sldId="10336"/>
        </pc:sldMkLst>
        <pc:spChg chg="mod">
          <ac:chgData name="Rich Black" userId="b49cc34d-059b-4351-ba76-9f03c1133ec4" providerId="ADAL" clId="{02368D1F-1E8D-473D-BCF1-5BF7E814B328}" dt="2021-03-02T18:38:19.149" v="1237" actId="20577"/>
          <ac:spMkLst>
            <pc:docMk/>
            <pc:sldMk cId="2889224282" sldId="10336"/>
            <ac:spMk id="2" creationId="{45010FE8-BF09-4146-B084-66CB05B66FD9}"/>
          </ac:spMkLst>
        </pc:spChg>
        <pc:spChg chg="mod">
          <ac:chgData name="Rich Black" userId="b49cc34d-059b-4351-ba76-9f03c1133ec4" providerId="ADAL" clId="{02368D1F-1E8D-473D-BCF1-5BF7E814B328}" dt="2021-03-04T18:36:01.709" v="2177" actId="20577"/>
          <ac:spMkLst>
            <pc:docMk/>
            <pc:sldMk cId="2889224282" sldId="10336"/>
            <ac:spMk id="15" creationId="{BDD64BFD-7ED9-4476-ABC3-6BBAC4A275B2}"/>
          </ac:spMkLst>
        </pc:spChg>
      </pc:sldChg>
      <pc:sldChg chg="modSp mod">
        <pc:chgData name="Rich Black" userId="b49cc34d-059b-4351-ba76-9f03c1133ec4" providerId="ADAL" clId="{02368D1F-1E8D-473D-BCF1-5BF7E814B328}" dt="2021-03-04T18:36:11.757" v="2179" actId="6549"/>
        <pc:sldMkLst>
          <pc:docMk/>
          <pc:sldMk cId="494690514" sldId="10337"/>
        </pc:sldMkLst>
        <pc:spChg chg="mod">
          <ac:chgData name="Rich Black" userId="b49cc34d-059b-4351-ba76-9f03c1133ec4" providerId="ADAL" clId="{02368D1F-1E8D-473D-BCF1-5BF7E814B328}" dt="2021-03-04T18:36:11.757" v="2179" actId="6549"/>
          <ac:spMkLst>
            <pc:docMk/>
            <pc:sldMk cId="494690514" sldId="10337"/>
            <ac:spMk id="15" creationId="{BDD64BFD-7ED9-4476-ABC3-6BBAC4A275B2}"/>
          </ac:spMkLst>
        </pc:spChg>
      </pc:sldChg>
      <pc:sldChg chg="modSp mod modNotesTx">
        <pc:chgData name="Rich Black" userId="b49cc34d-059b-4351-ba76-9f03c1133ec4" providerId="ADAL" clId="{02368D1F-1E8D-473D-BCF1-5BF7E814B328}" dt="2021-03-04T18:36:20.086" v="2182" actId="20577"/>
        <pc:sldMkLst>
          <pc:docMk/>
          <pc:sldMk cId="2221718970" sldId="10338"/>
        </pc:sldMkLst>
        <pc:spChg chg="mod">
          <ac:chgData name="Rich Black" userId="b49cc34d-059b-4351-ba76-9f03c1133ec4" providerId="ADAL" clId="{02368D1F-1E8D-473D-BCF1-5BF7E814B328}" dt="2021-03-04T18:36:20.086" v="2182" actId="20577"/>
          <ac:spMkLst>
            <pc:docMk/>
            <pc:sldMk cId="2221718970" sldId="10338"/>
            <ac:spMk id="15" creationId="{BDD64BFD-7ED9-4476-ABC3-6BBAC4A275B2}"/>
          </ac:spMkLst>
        </pc:spChg>
      </pc:sldChg>
      <pc:sldChg chg="modSp mod">
        <pc:chgData name="Rich Black" userId="b49cc34d-059b-4351-ba76-9f03c1133ec4" providerId="ADAL" clId="{02368D1F-1E8D-473D-BCF1-5BF7E814B328}" dt="2021-03-05T18:51:25.680" v="2271" actId="33553"/>
        <pc:sldMkLst>
          <pc:docMk/>
          <pc:sldMk cId="1722379815" sldId="10339"/>
        </pc:sldMkLst>
        <pc:spChg chg="mod">
          <ac:chgData name="Rich Black" userId="b49cc34d-059b-4351-ba76-9f03c1133ec4" providerId="ADAL" clId="{02368D1F-1E8D-473D-BCF1-5BF7E814B328}" dt="2021-03-01T20:50:24.206" v="6" actId="20577"/>
          <ac:spMkLst>
            <pc:docMk/>
            <pc:sldMk cId="1722379815" sldId="10339"/>
            <ac:spMk id="5" creationId="{E7503F64-CFA9-4B15-BBFB-8E55D5867F21}"/>
          </ac:spMkLst>
        </pc:spChg>
        <pc:spChg chg="mod">
          <ac:chgData name="Rich Black" userId="b49cc34d-059b-4351-ba76-9f03c1133ec4" providerId="ADAL" clId="{02368D1F-1E8D-473D-BCF1-5BF7E814B328}" dt="2021-03-05T18:51:25.680" v="2271" actId="33553"/>
          <ac:spMkLst>
            <pc:docMk/>
            <pc:sldMk cId="1722379815" sldId="10339"/>
            <ac:spMk id="10" creationId="{C9D82A8F-AC9B-4CAE-B512-25AAD63562E6}"/>
          </ac:spMkLst>
        </pc:spChg>
      </pc:sldChg>
      <pc:sldChg chg="modSp mod">
        <pc:chgData name="Rich Black" userId="b49cc34d-059b-4351-ba76-9f03c1133ec4" providerId="ADAL" clId="{02368D1F-1E8D-473D-BCF1-5BF7E814B328}" dt="2021-03-05T18:51:40.588" v="2272" actId="33553"/>
        <pc:sldMkLst>
          <pc:docMk/>
          <pc:sldMk cId="1741123349" sldId="10340"/>
        </pc:sldMkLst>
        <pc:spChg chg="mod">
          <ac:chgData name="Rich Black" userId="b49cc34d-059b-4351-ba76-9f03c1133ec4" providerId="ADAL" clId="{02368D1F-1E8D-473D-BCF1-5BF7E814B328}" dt="2021-03-05T18:51:40.588" v="2272" actId="33553"/>
          <ac:spMkLst>
            <pc:docMk/>
            <pc:sldMk cId="1741123349" sldId="10340"/>
            <ac:spMk id="8" creationId="{7AA28988-B00E-40C5-B3D3-B0082731570B}"/>
          </ac:spMkLst>
        </pc:spChg>
      </pc:sldChg>
      <pc:sldChg chg="del">
        <pc:chgData name="Rich Black" userId="b49cc34d-059b-4351-ba76-9f03c1133ec4" providerId="ADAL" clId="{02368D1F-1E8D-473D-BCF1-5BF7E814B328}" dt="2021-03-01T21:01:31.771" v="903" actId="47"/>
        <pc:sldMkLst>
          <pc:docMk/>
          <pc:sldMk cId="2993489469" sldId="2076138098"/>
        </pc:sldMkLst>
      </pc:sldChg>
      <pc:sldChg chg="del">
        <pc:chgData name="Rich Black" userId="b49cc34d-059b-4351-ba76-9f03c1133ec4" providerId="ADAL" clId="{02368D1F-1E8D-473D-BCF1-5BF7E814B328}" dt="2021-03-01T20:58:01.463" v="746" actId="47"/>
        <pc:sldMkLst>
          <pc:docMk/>
          <pc:sldMk cId="356613394" sldId="2076138099"/>
        </pc:sldMkLst>
      </pc:sldChg>
      <pc:sldChg chg="modSp mod">
        <pc:chgData name="Rich Black" userId="b49cc34d-059b-4351-ba76-9f03c1133ec4" providerId="ADAL" clId="{02368D1F-1E8D-473D-BCF1-5BF7E814B328}" dt="2021-03-05T18:51:52.634" v="2273" actId="33553"/>
        <pc:sldMkLst>
          <pc:docMk/>
          <pc:sldMk cId="3936993880" sldId="2076138100"/>
        </pc:sldMkLst>
        <pc:spChg chg="mod">
          <ac:chgData name="Rich Black" userId="b49cc34d-059b-4351-ba76-9f03c1133ec4" providerId="ADAL" clId="{02368D1F-1E8D-473D-BCF1-5BF7E814B328}" dt="2021-03-05T18:51:52.634" v="2273" actId="33553"/>
          <ac:spMkLst>
            <pc:docMk/>
            <pc:sldMk cId="3936993880" sldId="2076138100"/>
            <ac:spMk id="4" creationId="{7CEE9F69-5E1D-4C56-9465-C7C0BC28B0DB}"/>
          </ac:spMkLst>
        </pc:spChg>
      </pc:sldChg>
      <pc:sldChg chg="modSp mod modNotesTx">
        <pc:chgData name="Rich Black" userId="b49cc34d-059b-4351-ba76-9f03c1133ec4" providerId="ADAL" clId="{02368D1F-1E8D-473D-BCF1-5BF7E814B328}" dt="2021-03-04T18:36:26.850" v="2183"/>
        <pc:sldMkLst>
          <pc:docMk/>
          <pc:sldMk cId="3478165757" sldId="2076138102"/>
        </pc:sldMkLst>
        <pc:spChg chg="mod">
          <ac:chgData name="Rich Black" userId="b49cc34d-059b-4351-ba76-9f03c1133ec4" providerId="ADAL" clId="{02368D1F-1E8D-473D-BCF1-5BF7E814B328}" dt="2021-03-03T23:29:38.270" v="1801" actId="20577"/>
          <ac:spMkLst>
            <pc:docMk/>
            <pc:sldMk cId="3478165757" sldId="2076138102"/>
            <ac:spMk id="2" creationId="{45010FE8-BF09-4146-B084-66CB05B66FD9}"/>
          </ac:spMkLst>
        </pc:spChg>
        <pc:spChg chg="mod">
          <ac:chgData name="Rich Black" userId="b49cc34d-059b-4351-ba76-9f03c1133ec4" providerId="ADAL" clId="{02368D1F-1E8D-473D-BCF1-5BF7E814B328}" dt="2021-03-04T18:36:26.850" v="2183"/>
          <ac:spMkLst>
            <pc:docMk/>
            <pc:sldMk cId="3478165757" sldId="2076138102"/>
            <ac:spMk id="15" creationId="{BDD64BFD-7ED9-4476-ABC3-6BBAC4A275B2}"/>
          </ac:spMkLst>
        </pc:spChg>
      </pc:sldChg>
      <pc:sldChg chg="delSp modSp mod modShow modNotesTx">
        <pc:chgData name="Rich Black" userId="b49cc34d-059b-4351-ba76-9f03c1133ec4" providerId="ADAL" clId="{02368D1F-1E8D-473D-BCF1-5BF7E814B328}" dt="2021-03-04T18:36:36.915" v="2185"/>
        <pc:sldMkLst>
          <pc:docMk/>
          <pc:sldMk cId="1154009987" sldId="2076138103"/>
        </pc:sldMkLst>
        <pc:spChg chg="mod">
          <ac:chgData name="Rich Black" userId="b49cc34d-059b-4351-ba76-9f03c1133ec4" providerId="ADAL" clId="{02368D1F-1E8D-473D-BCF1-5BF7E814B328}" dt="2021-03-03T23:27:27.207" v="1793" actId="20577"/>
          <ac:spMkLst>
            <pc:docMk/>
            <pc:sldMk cId="1154009987" sldId="2076138103"/>
            <ac:spMk id="2" creationId="{45010FE8-BF09-4146-B084-66CB05B66FD9}"/>
          </ac:spMkLst>
        </pc:spChg>
        <pc:spChg chg="mod">
          <ac:chgData name="Rich Black" userId="b49cc34d-059b-4351-ba76-9f03c1133ec4" providerId="ADAL" clId="{02368D1F-1E8D-473D-BCF1-5BF7E814B328}" dt="2021-03-04T18:36:36.915" v="2185"/>
          <ac:spMkLst>
            <pc:docMk/>
            <pc:sldMk cId="1154009987" sldId="2076138103"/>
            <ac:spMk id="15" creationId="{BDD64BFD-7ED9-4476-ABC3-6BBAC4A275B2}"/>
          </ac:spMkLst>
        </pc:spChg>
        <pc:spChg chg="del">
          <ac:chgData name="Rich Black" userId="b49cc34d-059b-4351-ba76-9f03c1133ec4" providerId="ADAL" clId="{02368D1F-1E8D-473D-BCF1-5BF7E814B328}" dt="2021-03-03T23:30:11.703" v="1810" actId="478"/>
          <ac:spMkLst>
            <pc:docMk/>
            <pc:sldMk cId="1154009987" sldId="2076138103"/>
            <ac:spMk id="16" creationId="{7A51C690-09D3-41EE-8DF7-95B1AA517137}"/>
          </ac:spMkLst>
        </pc:spChg>
      </pc:sldChg>
      <pc:sldChg chg="delSp modSp mod modNotesTx">
        <pc:chgData name="Rich Black" userId="b49cc34d-059b-4351-ba76-9f03c1133ec4" providerId="ADAL" clId="{02368D1F-1E8D-473D-BCF1-5BF7E814B328}" dt="2021-03-04T18:36:32.151" v="2184"/>
        <pc:sldMkLst>
          <pc:docMk/>
          <pc:sldMk cId="3157661312" sldId="2076138105"/>
        </pc:sldMkLst>
        <pc:spChg chg="mod">
          <ac:chgData name="Rich Black" userId="b49cc34d-059b-4351-ba76-9f03c1133ec4" providerId="ADAL" clId="{02368D1F-1E8D-473D-BCF1-5BF7E814B328}" dt="2021-03-03T23:26:37.934" v="1772" actId="20577"/>
          <ac:spMkLst>
            <pc:docMk/>
            <pc:sldMk cId="3157661312" sldId="2076138105"/>
            <ac:spMk id="2" creationId="{45010FE8-BF09-4146-B084-66CB05B66FD9}"/>
          </ac:spMkLst>
        </pc:spChg>
        <pc:spChg chg="mod">
          <ac:chgData name="Rich Black" userId="b49cc34d-059b-4351-ba76-9f03c1133ec4" providerId="ADAL" clId="{02368D1F-1E8D-473D-BCF1-5BF7E814B328}" dt="2021-03-04T18:36:32.151" v="2184"/>
          <ac:spMkLst>
            <pc:docMk/>
            <pc:sldMk cId="3157661312" sldId="2076138105"/>
            <ac:spMk id="15" creationId="{BDD64BFD-7ED9-4476-ABC3-6BBAC4A275B2}"/>
          </ac:spMkLst>
        </pc:spChg>
        <pc:spChg chg="del mod">
          <ac:chgData name="Rich Black" userId="b49cc34d-059b-4351-ba76-9f03c1133ec4" providerId="ADAL" clId="{02368D1F-1E8D-473D-BCF1-5BF7E814B328}" dt="2021-03-03T23:28:25.101" v="1795" actId="478"/>
          <ac:spMkLst>
            <pc:docMk/>
            <pc:sldMk cId="3157661312" sldId="2076138105"/>
            <ac:spMk id="16" creationId="{7A51C690-09D3-41EE-8DF7-95B1AA517137}"/>
          </ac:spMkLst>
        </pc:spChg>
      </pc:sldChg>
      <pc:sldChg chg="modSp mod modNotesTx">
        <pc:chgData name="Rich Black" userId="b49cc34d-059b-4351-ba76-9f03c1133ec4" providerId="ADAL" clId="{02368D1F-1E8D-473D-BCF1-5BF7E814B328}" dt="2021-03-03T23:47:56.694" v="2057" actId="20577"/>
        <pc:sldMkLst>
          <pc:docMk/>
          <pc:sldMk cId="1756625805" sldId="2076138106"/>
        </pc:sldMkLst>
        <pc:spChg chg="mod">
          <ac:chgData name="Rich Black" userId="b49cc34d-059b-4351-ba76-9f03c1133ec4" providerId="ADAL" clId="{02368D1F-1E8D-473D-BCF1-5BF7E814B328}" dt="2021-03-03T23:45:36.559" v="2047"/>
          <ac:spMkLst>
            <pc:docMk/>
            <pc:sldMk cId="1756625805" sldId="2076138106"/>
            <ac:spMk id="69" creationId="{42ECBDD0-EA6C-4366-BD26-B894BDE5F2A5}"/>
          </ac:spMkLst>
        </pc:spChg>
        <pc:spChg chg="mod">
          <ac:chgData name="Rich Black" userId="b49cc34d-059b-4351-ba76-9f03c1133ec4" providerId="ADAL" clId="{02368D1F-1E8D-473D-BCF1-5BF7E814B328}" dt="2021-03-03T23:45:45.842" v="2048" actId="255"/>
          <ac:spMkLst>
            <pc:docMk/>
            <pc:sldMk cId="1756625805" sldId="2076138106"/>
            <ac:spMk id="77" creationId="{CB34EFC9-3129-4E10-8501-B269CDA8F984}"/>
          </ac:spMkLst>
        </pc:spChg>
        <pc:spChg chg="mod">
          <ac:chgData name="Rich Black" userId="b49cc34d-059b-4351-ba76-9f03c1133ec4" providerId="ADAL" clId="{02368D1F-1E8D-473D-BCF1-5BF7E814B328}" dt="2021-03-03T23:45:23.376" v="2046"/>
          <ac:spMkLst>
            <pc:docMk/>
            <pc:sldMk cId="1756625805" sldId="2076138106"/>
            <ac:spMk id="83" creationId="{8FE209B5-4615-4B33-86D4-DDDA4461687A}"/>
          </ac:spMkLst>
        </pc:spChg>
      </pc:sldChg>
      <pc:sldChg chg="delSp modSp add mod modNotesTx">
        <pc:chgData name="Rich Black" userId="b49cc34d-059b-4351-ba76-9f03c1133ec4" providerId="ADAL" clId="{02368D1F-1E8D-473D-BCF1-5BF7E814B328}" dt="2021-03-04T17:40:31.860" v="2168" actId="478"/>
        <pc:sldMkLst>
          <pc:docMk/>
          <pc:sldMk cId="994621968" sldId="2076138107"/>
        </pc:sldMkLst>
        <pc:spChg chg="mod">
          <ac:chgData name="Rich Black" userId="b49cc34d-059b-4351-ba76-9f03c1133ec4" providerId="ADAL" clId="{02368D1F-1E8D-473D-BCF1-5BF7E814B328}" dt="2021-03-01T20:51:20.565" v="16" actId="20577"/>
          <ac:spMkLst>
            <pc:docMk/>
            <pc:sldMk cId="994621968" sldId="2076138107"/>
            <ac:spMk id="2" creationId="{45010FE8-BF09-4146-B084-66CB05B66FD9}"/>
          </ac:spMkLst>
        </pc:spChg>
        <pc:spChg chg="mod">
          <ac:chgData name="Rich Black" userId="b49cc34d-059b-4351-ba76-9f03c1133ec4" providerId="ADAL" clId="{02368D1F-1E8D-473D-BCF1-5BF7E814B328}" dt="2021-03-01T21:01:24.438" v="902" actId="6549"/>
          <ac:spMkLst>
            <pc:docMk/>
            <pc:sldMk cId="994621968" sldId="2076138107"/>
            <ac:spMk id="11" creationId="{76583F2C-13BC-4FA8-A9DE-F1F764C38F10}"/>
          </ac:spMkLst>
        </pc:spChg>
        <pc:spChg chg="mod">
          <ac:chgData name="Rich Black" userId="b49cc34d-059b-4351-ba76-9f03c1133ec4" providerId="ADAL" clId="{02368D1F-1E8D-473D-BCF1-5BF7E814B328}" dt="2021-03-04T17:40:23.169" v="2167"/>
          <ac:spMkLst>
            <pc:docMk/>
            <pc:sldMk cId="994621968" sldId="2076138107"/>
            <ac:spMk id="15" creationId="{BDD64BFD-7ED9-4476-ABC3-6BBAC4A275B2}"/>
          </ac:spMkLst>
        </pc:spChg>
        <pc:spChg chg="del">
          <ac:chgData name="Rich Black" userId="b49cc34d-059b-4351-ba76-9f03c1133ec4" providerId="ADAL" clId="{02368D1F-1E8D-473D-BCF1-5BF7E814B328}" dt="2021-03-04T17:40:31.860" v="2168" actId="478"/>
          <ac:spMkLst>
            <pc:docMk/>
            <pc:sldMk cId="994621968" sldId="2076138107"/>
            <ac:spMk id="16" creationId="{7A51C690-09D3-41EE-8DF7-95B1AA517137}"/>
          </ac:spMkLst>
        </pc:spChg>
      </pc:sldChg>
      <pc:sldChg chg="addSp delSp modSp add mod modNotesTx">
        <pc:chgData name="Rich Black" userId="b49cc34d-059b-4351-ba76-9f03c1133ec4" providerId="ADAL" clId="{02368D1F-1E8D-473D-BCF1-5BF7E814B328}" dt="2021-03-04T17:42:20" v="2169"/>
        <pc:sldMkLst>
          <pc:docMk/>
          <pc:sldMk cId="1741817657" sldId="2076138108"/>
        </pc:sldMkLst>
        <pc:spChg chg="mod">
          <ac:chgData name="Rich Black" userId="b49cc34d-059b-4351-ba76-9f03c1133ec4" providerId="ADAL" clId="{02368D1F-1E8D-473D-BCF1-5BF7E814B328}" dt="2021-03-01T20:51:35.169" v="25" actId="20577"/>
          <ac:spMkLst>
            <pc:docMk/>
            <pc:sldMk cId="1741817657" sldId="2076138108"/>
            <ac:spMk id="2" creationId="{45010FE8-BF09-4146-B084-66CB05B66FD9}"/>
          </ac:spMkLst>
        </pc:spChg>
        <pc:spChg chg="mod">
          <ac:chgData name="Rich Black" userId="b49cc34d-059b-4351-ba76-9f03c1133ec4" providerId="ADAL" clId="{02368D1F-1E8D-473D-BCF1-5BF7E814B328}" dt="2021-03-01T20:52:31.043" v="113" actId="6549"/>
          <ac:spMkLst>
            <pc:docMk/>
            <pc:sldMk cId="1741817657" sldId="2076138108"/>
            <ac:spMk id="11" creationId="{76583F2C-13BC-4FA8-A9DE-F1F764C38F10}"/>
          </ac:spMkLst>
        </pc:spChg>
        <pc:spChg chg="mod">
          <ac:chgData name="Rich Black" userId="b49cc34d-059b-4351-ba76-9f03c1133ec4" providerId="ADAL" clId="{02368D1F-1E8D-473D-BCF1-5BF7E814B328}" dt="2021-03-01T20:54:55.513" v="504" actId="20577"/>
          <ac:spMkLst>
            <pc:docMk/>
            <pc:sldMk cId="1741817657" sldId="2076138108"/>
            <ac:spMk id="15" creationId="{BDD64BFD-7ED9-4476-ABC3-6BBAC4A275B2}"/>
          </ac:spMkLst>
        </pc:spChg>
        <pc:spChg chg="del mod">
          <ac:chgData name="Rich Black" userId="b49cc34d-059b-4351-ba76-9f03c1133ec4" providerId="ADAL" clId="{02368D1F-1E8D-473D-BCF1-5BF7E814B328}" dt="2021-03-03T23:38:41.479" v="1875" actId="478"/>
          <ac:spMkLst>
            <pc:docMk/>
            <pc:sldMk cId="1741817657" sldId="2076138108"/>
            <ac:spMk id="16" creationId="{7A51C690-09D3-41EE-8DF7-95B1AA517137}"/>
          </ac:spMkLst>
        </pc:spChg>
        <pc:spChg chg="add mod">
          <ac:chgData name="Rich Black" userId="b49cc34d-059b-4351-ba76-9f03c1133ec4" providerId="ADAL" clId="{02368D1F-1E8D-473D-BCF1-5BF7E814B328}" dt="2021-03-04T17:42:20" v="2169"/>
          <ac:spMkLst>
            <pc:docMk/>
            <pc:sldMk cId="1741817657" sldId="2076138108"/>
            <ac:spMk id="17" creationId="{AAD0D11D-7268-45AF-B13E-BA33C4F11E35}"/>
          </ac:spMkLst>
        </pc:spChg>
        <pc:spChg chg="add del">
          <ac:chgData name="Rich Black" userId="b49cc34d-059b-4351-ba76-9f03c1133ec4" providerId="ADAL" clId="{02368D1F-1E8D-473D-BCF1-5BF7E814B328}" dt="2021-03-03T23:36:49.445" v="1861" actId="22"/>
          <ac:spMkLst>
            <pc:docMk/>
            <pc:sldMk cId="1741817657" sldId="2076138108"/>
            <ac:spMk id="18" creationId="{63A38867-FC0B-41D2-A73E-8864EFCE23ED}"/>
          </ac:spMkLst>
        </pc:spChg>
      </pc:sldChg>
      <pc:sldChg chg="modSp mod">
        <pc:chgData name="Rich Black" userId="b49cc34d-059b-4351-ba76-9f03c1133ec4" providerId="ADAL" clId="{02368D1F-1E8D-473D-BCF1-5BF7E814B328}" dt="2021-03-04T17:12:16.752" v="2163" actId="20577"/>
        <pc:sldMkLst>
          <pc:docMk/>
          <pc:sldMk cId="75109738" sldId="2076138109"/>
        </pc:sldMkLst>
        <pc:spChg chg="mod">
          <ac:chgData name="Rich Black" userId="b49cc34d-059b-4351-ba76-9f03c1133ec4" providerId="ADAL" clId="{02368D1F-1E8D-473D-BCF1-5BF7E814B328}" dt="2021-03-04T17:12:16.752" v="2163" actId="20577"/>
          <ac:spMkLst>
            <pc:docMk/>
            <pc:sldMk cId="75109738" sldId="2076138109"/>
            <ac:spMk id="18" creationId="{E25BB912-D68D-430A-9959-5178AF72BEA6}"/>
          </ac:spMkLst>
        </pc:spChg>
      </pc:sldChg>
      <pc:sldChg chg="add del">
        <pc:chgData name="Rich Black" userId="b49cc34d-059b-4351-ba76-9f03c1133ec4" providerId="ADAL" clId="{02368D1F-1E8D-473D-BCF1-5BF7E814B328}" dt="2021-03-02T18:46:09.959" v="1377" actId="47"/>
        <pc:sldMkLst>
          <pc:docMk/>
          <pc:sldMk cId="2982360484" sldId="2076138109"/>
        </pc:sldMkLst>
      </pc:sldChg>
      <pc:sldChg chg="modSp mod">
        <pc:chgData name="Rich Black" userId="b49cc34d-059b-4351-ba76-9f03c1133ec4" providerId="ADAL" clId="{02368D1F-1E8D-473D-BCF1-5BF7E814B328}" dt="2021-03-04T18:37:05.008" v="2188" actId="6549"/>
        <pc:sldMkLst>
          <pc:docMk/>
          <pc:sldMk cId="2940933816" sldId="2076138112"/>
        </pc:sldMkLst>
        <pc:spChg chg="mod">
          <ac:chgData name="Rich Black" userId="b49cc34d-059b-4351-ba76-9f03c1133ec4" providerId="ADAL" clId="{02368D1F-1E8D-473D-BCF1-5BF7E814B328}" dt="2021-03-04T18:37:05.008" v="2188" actId="6549"/>
          <ac:spMkLst>
            <pc:docMk/>
            <pc:sldMk cId="2940933816" sldId="2076138112"/>
            <ac:spMk id="44" creationId="{7AEF577A-6637-41CE-8BA1-6AEF5C48E17A}"/>
          </ac:spMkLst>
        </pc:spChg>
      </pc:sldChg>
      <pc:sldChg chg="modSp mod">
        <pc:chgData name="Rich Black" userId="b49cc34d-059b-4351-ba76-9f03c1133ec4" providerId="ADAL" clId="{02368D1F-1E8D-473D-BCF1-5BF7E814B328}" dt="2021-03-04T18:37:12.971" v="2189"/>
        <pc:sldMkLst>
          <pc:docMk/>
          <pc:sldMk cId="3314065834" sldId="2076138115"/>
        </pc:sldMkLst>
        <pc:spChg chg="mod">
          <ac:chgData name="Rich Black" userId="b49cc34d-059b-4351-ba76-9f03c1133ec4" providerId="ADAL" clId="{02368D1F-1E8D-473D-BCF1-5BF7E814B328}" dt="2021-03-04T18:37:12.971" v="2189"/>
          <ac:spMkLst>
            <pc:docMk/>
            <pc:sldMk cId="3314065834" sldId="2076138115"/>
            <ac:spMk id="33" creationId="{4E6833D9-B8E8-4E22-A3C4-9785A26C6D3C}"/>
          </ac:spMkLst>
        </pc:spChg>
      </pc:sldChg>
      <pc:sldChg chg="modSp mod">
        <pc:chgData name="Rich Black" userId="b49cc34d-059b-4351-ba76-9f03c1133ec4" providerId="ADAL" clId="{02368D1F-1E8D-473D-BCF1-5BF7E814B328}" dt="2021-03-04T18:37:19.943" v="2190"/>
        <pc:sldMkLst>
          <pc:docMk/>
          <pc:sldMk cId="2744808940" sldId="2076138116"/>
        </pc:sldMkLst>
        <pc:spChg chg="mod">
          <ac:chgData name="Rich Black" userId="b49cc34d-059b-4351-ba76-9f03c1133ec4" providerId="ADAL" clId="{02368D1F-1E8D-473D-BCF1-5BF7E814B328}" dt="2021-03-04T18:37:19.943" v="2190"/>
          <ac:spMkLst>
            <pc:docMk/>
            <pc:sldMk cId="2744808940" sldId="2076138116"/>
            <ac:spMk id="33" creationId="{4E6833D9-B8E8-4E22-A3C4-9785A26C6D3C}"/>
          </ac:spMkLst>
        </pc:spChg>
      </pc:sldChg>
      <pc:sldChg chg="modSp mod">
        <pc:chgData name="Rich Black" userId="b49cc34d-059b-4351-ba76-9f03c1133ec4" providerId="ADAL" clId="{02368D1F-1E8D-473D-BCF1-5BF7E814B328}" dt="2021-03-03T23:36:43.767" v="1858"/>
        <pc:sldMkLst>
          <pc:docMk/>
          <pc:sldMk cId="64277821" sldId="2076138117"/>
        </pc:sldMkLst>
        <pc:spChg chg="mod">
          <ac:chgData name="Rich Black" userId="b49cc34d-059b-4351-ba76-9f03c1133ec4" providerId="ADAL" clId="{02368D1F-1E8D-473D-BCF1-5BF7E814B328}" dt="2021-03-03T23:36:36.882" v="1855"/>
          <ac:spMkLst>
            <pc:docMk/>
            <pc:sldMk cId="64277821" sldId="2076138117"/>
            <ac:spMk id="33" creationId="{4E6833D9-B8E8-4E22-A3C4-9785A26C6D3C}"/>
          </ac:spMkLst>
        </pc:spChg>
        <pc:spChg chg="mod">
          <ac:chgData name="Rich Black" userId="b49cc34d-059b-4351-ba76-9f03c1133ec4" providerId="ADAL" clId="{02368D1F-1E8D-473D-BCF1-5BF7E814B328}" dt="2021-03-03T23:36:41.699" v="1857"/>
          <ac:spMkLst>
            <pc:docMk/>
            <pc:sldMk cId="64277821" sldId="2076138117"/>
            <ac:spMk id="34" creationId="{195D9BD3-5BF5-4C37-8A41-13A657BDD01D}"/>
          </ac:spMkLst>
        </pc:spChg>
        <pc:spChg chg="mod">
          <ac:chgData name="Rich Black" userId="b49cc34d-059b-4351-ba76-9f03c1133ec4" providerId="ADAL" clId="{02368D1F-1E8D-473D-BCF1-5BF7E814B328}" dt="2021-03-03T23:36:43.767" v="1858"/>
          <ac:spMkLst>
            <pc:docMk/>
            <pc:sldMk cId="64277821" sldId="2076138117"/>
            <ac:spMk id="35" creationId="{5A2403DC-CA47-42B1-96EF-C43910C1E399}"/>
          </ac:spMkLst>
        </pc:spChg>
        <pc:spChg chg="mod">
          <ac:chgData name="Rich Black" userId="b49cc34d-059b-4351-ba76-9f03c1133ec4" providerId="ADAL" clId="{02368D1F-1E8D-473D-BCF1-5BF7E814B328}" dt="2021-03-03T23:36:38.522" v="1856"/>
          <ac:spMkLst>
            <pc:docMk/>
            <pc:sldMk cId="64277821" sldId="2076138117"/>
            <ac:spMk id="40" creationId="{2FCD1F09-8989-41D1-80A4-1942ACFC4F39}"/>
          </ac:spMkLst>
        </pc:spChg>
      </pc:sldChg>
      <pc:sldChg chg="modSp mod">
        <pc:chgData name="Rich Black" userId="b49cc34d-059b-4351-ba76-9f03c1133ec4" providerId="ADAL" clId="{02368D1F-1E8D-473D-BCF1-5BF7E814B328}" dt="2021-03-04T18:37:35.700" v="2194" actId="122"/>
        <pc:sldMkLst>
          <pc:docMk/>
          <pc:sldMk cId="2392676120" sldId="2076138119"/>
        </pc:sldMkLst>
        <pc:spChg chg="mod">
          <ac:chgData name="Rich Black" userId="b49cc34d-059b-4351-ba76-9f03c1133ec4" providerId="ADAL" clId="{02368D1F-1E8D-473D-BCF1-5BF7E814B328}" dt="2021-03-04T18:37:35.700" v="2194" actId="122"/>
          <ac:spMkLst>
            <pc:docMk/>
            <pc:sldMk cId="2392676120" sldId="2076138119"/>
            <ac:spMk id="14" creationId="{EA8CC3DD-14C4-4EA0-8823-0A8FF631C7A4}"/>
          </ac:spMkLst>
        </pc:spChg>
        <pc:spChg chg="mod">
          <ac:chgData name="Rich Black" userId="b49cc34d-059b-4351-ba76-9f03c1133ec4" providerId="ADAL" clId="{02368D1F-1E8D-473D-BCF1-5BF7E814B328}" dt="2021-03-04T18:37:28.492" v="2192"/>
          <ac:spMkLst>
            <pc:docMk/>
            <pc:sldMk cId="2392676120" sldId="2076138119"/>
            <ac:spMk id="33" creationId="{4E6833D9-B8E8-4E22-A3C4-9785A26C6D3C}"/>
          </ac:spMkLst>
        </pc:spChg>
      </pc:sldChg>
      <pc:sldChg chg="modSp mod">
        <pc:chgData name="Rich Black" userId="b49cc34d-059b-4351-ba76-9f03c1133ec4" providerId="ADAL" clId="{02368D1F-1E8D-473D-BCF1-5BF7E814B328}" dt="2021-03-05T18:52:04.333" v="2274" actId="33553"/>
        <pc:sldMkLst>
          <pc:docMk/>
          <pc:sldMk cId="2184151989" sldId="2076138123"/>
        </pc:sldMkLst>
        <pc:spChg chg="mod">
          <ac:chgData name="Rich Black" userId="b49cc34d-059b-4351-ba76-9f03c1133ec4" providerId="ADAL" clId="{02368D1F-1E8D-473D-BCF1-5BF7E814B328}" dt="2021-03-05T18:52:04.333" v="2274" actId="33553"/>
          <ac:spMkLst>
            <pc:docMk/>
            <pc:sldMk cId="2184151989" sldId="2076138123"/>
            <ac:spMk id="4" creationId="{256811CF-363F-415B-BDDC-702D196043BC}"/>
          </ac:spMkLst>
        </pc:spChg>
      </pc:sldChg>
      <pc:sldChg chg="modSp mod">
        <pc:chgData name="Rich Black" userId="b49cc34d-059b-4351-ba76-9f03c1133ec4" providerId="ADAL" clId="{02368D1F-1E8D-473D-BCF1-5BF7E814B328}" dt="2021-03-05T18:52:22.924" v="2276" actId="33553"/>
        <pc:sldMkLst>
          <pc:docMk/>
          <pc:sldMk cId="3680393441" sldId="2076138124"/>
        </pc:sldMkLst>
        <pc:spChg chg="mod">
          <ac:chgData name="Rich Black" userId="b49cc34d-059b-4351-ba76-9f03c1133ec4" providerId="ADAL" clId="{02368D1F-1E8D-473D-BCF1-5BF7E814B328}" dt="2021-03-05T18:52:22.924" v="2276" actId="33553"/>
          <ac:spMkLst>
            <pc:docMk/>
            <pc:sldMk cId="3680393441" sldId="2076138124"/>
            <ac:spMk id="4" creationId="{D4A6C5B7-1FF9-40ED-B5CF-C60C02256475}"/>
          </ac:spMkLst>
        </pc:spChg>
      </pc:sldChg>
      <pc:sldChg chg="modSp mod">
        <pc:chgData name="Rich Black" userId="b49cc34d-059b-4351-ba76-9f03c1133ec4" providerId="ADAL" clId="{02368D1F-1E8D-473D-BCF1-5BF7E814B328}" dt="2021-03-04T18:40:39.591" v="2197"/>
        <pc:sldMkLst>
          <pc:docMk/>
          <pc:sldMk cId="314067589" sldId="2076138125"/>
        </pc:sldMkLst>
        <pc:spChg chg="mod">
          <ac:chgData name="Rich Black" userId="b49cc34d-059b-4351-ba76-9f03c1133ec4" providerId="ADAL" clId="{02368D1F-1E8D-473D-BCF1-5BF7E814B328}" dt="2021-03-04T18:40:39.591" v="2197"/>
          <ac:spMkLst>
            <pc:docMk/>
            <pc:sldMk cId="314067589" sldId="2076138125"/>
            <ac:spMk id="14" creationId="{EA8CC3DD-14C4-4EA0-8823-0A8FF631C7A4}"/>
          </ac:spMkLst>
        </pc:spChg>
        <pc:spChg chg="mod">
          <ac:chgData name="Rich Black" userId="b49cc34d-059b-4351-ba76-9f03c1133ec4" providerId="ADAL" clId="{02368D1F-1E8D-473D-BCF1-5BF7E814B328}" dt="2021-03-04T18:40:32.385" v="2195"/>
          <ac:spMkLst>
            <pc:docMk/>
            <pc:sldMk cId="314067589" sldId="2076138125"/>
            <ac:spMk id="33" creationId="{4E6833D9-B8E8-4E22-A3C4-9785A26C6D3C}"/>
          </ac:spMkLst>
        </pc:spChg>
        <pc:spChg chg="mod">
          <ac:chgData name="Rich Black" userId="b49cc34d-059b-4351-ba76-9f03c1133ec4" providerId="ADAL" clId="{02368D1F-1E8D-473D-BCF1-5BF7E814B328}" dt="2021-03-04T18:40:37.466" v="2196"/>
          <ac:spMkLst>
            <pc:docMk/>
            <pc:sldMk cId="314067589" sldId="2076138125"/>
            <ac:spMk id="40" creationId="{2FCD1F09-8989-41D1-80A4-1942ACFC4F39}"/>
          </ac:spMkLst>
        </pc:spChg>
      </pc:sldChg>
      <pc:sldChg chg="modSp mod">
        <pc:chgData name="Rich Black" userId="b49cc34d-059b-4351-ba76-9f03c1133ec4" providerId="ADAL" clId="{02368D1F-1E8D-473D-BCF1-5BF7E814B328}" dt="2021-03-04T18:40:48.677" v="2200"/>
        <pc:sldMkLst>
          <pc:docMk/>
          <pc:sldMk cId="930985255" sldId="2076138126"/>
        </pc:sldMkLst>
        <pc:spChg chg="mod">
          <ac:chgData name="Rich Black" userId="b49cc34d-059b-4351-ba76-9f03c1133ec4" providerId="ADAL" clId="{02368D1F-1E8D-473D-BCF1-5BF7E814B328}" dt="2021-03-04T18:40:48.677" v="2200"/>
          <ac:spMkLst>
            <pc:docMk/>
            <pc:sldMk cId="930985255" sldId="2076138126"/>
            <ac:spMk id="14" creationId="{EA8CC3DD-14C4-4EA0-8823-0A8FF631C7A4}"/>
          </ac:spMkLst>
        </pc:spChg>
        <pc:spChg chg="mod">
          <ac:chgData name="Rich Black" userId="b49cc34d-059b-4351-ba76-9f03c1133ec4" providerId="ADAL" clId="{02368D1F-1E8D-473D-BCF1-5BF7E814B328}" dt="2021-03-04T18:40:44.362" v="2198"/>
          <ac:spMkLst>
            <pc:docMk/>
            <pc:sldMk cId="930985255" sldId="2076138126"/>
            <ac:spMk id="33" creationId="{4E6833D9-B8E8-4E22-A3C4-9785A26C6D3C}"/>
          </ac:spMkLst>
        </pc:spChg>
        <pc:spChg chg="mod">
          <ac:chgData name="Rich Black" userId="b49cc34d-059b-4351-ba76-9f03c1133ec4" providerId="ADAL" clId="{02368D1F-1E8D-473D-BCF1-5BF7E814B328}" dt="2021-03-04T18:40:46.553" v="2199"/>
          <ac:spMkLst>
            <pc:docMk/>
            <pc:sldMk cId="930985255" sldId="2076138126"/>
            <ac:spMk id="40" creationId="{2FCD1F09-8989-41D1-80A4-1942ACFC4F39}"/>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0/13/2021 3:00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0/13/2021 3:00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F0E8ADD-5317-4C14-B1BC-530D7C569EEA}" type="datetime8">
              <a:rPr lang="en-US" smtClean="0"/>
              <a:t>10/13/2021 3: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8882340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850">
                <a:latin typeface="Segoe UI"/>
                <a:cs typeface="Segoe UI"/>
              </a:rPr>
              <a:t>=========================</a:t>
            </a:r>
          </a:p>
          <a:p>
            <a:r>
              <a:rPr lang="pt-PT" sz="850" b="1">
                <a:latin typeface="Segoe UI"/>
                <a:cs typeface="Segoe UI"/>
              </a:rPr>
              <a:t>Why are we asking this information?</a:t>
            </a:r>
          </a:p>
          <a:p>
            <a:r>
              <a:rPr lang="en-US" sz="850">
                <a:latin typeface="Segoe UI"/>
                <a:cs typeface="Segoe UI"/>
              </a:rPr>
              <a:t>Finance and Operations applications have robust Role-based security features and implementing them effectively is critical to the overall success of your deployment. Here we want to understand your plan for implementing these Role-based security features effectively and efficiently.</a:t>
            </a:r>
          </a:p>
          <a:p>
            <a:pPr marL="0" lvl="0" indent="0">
              <a:buFont typeface="Arial" panose="020B0604020202020204" pitchFamily="34" charset="0"/>
              <a:buNone/>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pt-PT" sz="850">
                <a:latin typeface="Segoe UI"/>
                <a:cs typeface="Segoe UI"/>
              </a:rPr>
              <a:t>=========================</a:t>
            </a:r>
          </a:p>
          <a:p>
            <a:r>
              <a:rPr lang="pt-PT" sz="850" b="1">
                <a:latin typeface="Segoe UI"/>
                <a:cs typeface="Segoe UI"/>
              </a:rPr>
              <a:t>What to include?</a:t>
            </a:r>
          </a:p>
          <a:p>
            <a:endParaRPr lang="en-US"/>
          </a:p>
          <a:p>
            <a:pPr marL="0" lvl="0" indent="0">
              <a:buFont typeface="Arial" panose="020B0604020202020204" pitchFamily="34" charset="0"/>
              <a:buNone/>
            </a:pPr>
            <a:r>
              <a:rPr lang="en-US" sz="850">
                <a:latin typeface="Segoe UI"/>
                <a:cs typeface="Segoe UI"/>
              </a:rPr>
              <a:t>You should consider and answer the following questions in relation to implementing Role-based security in Finance and Operations application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solidFill>
                  <a:schemeClr val="tx1"/>
                </a:solidFill>
                <a:latin typeface="Segoe UI"/>
                <a:ea typeface="+mn-lt"/>
                <a:cs typeface="Segoe UI"/>
              </a:rPr>
              <a:t>Are you using the Task Recorder, Business Process Modeler, and Security Diagnostics tools to identify role requirements?</a:t>
            </a:r>
          </a:p>
          <a:p>
            <a:pPr marL="171450" indent="-171450">
              <a:buFont typeface="Arial" panose="020B0604020202020204" pitchFamily="34" charset="0"/>
              <a:buChar char="•"/>
              <a:defRPr/>
            </a:pPr>
            <a:r>
              <a:rPr lang="en-US" sz="800">
                <a:solidFill>
                  <a:schemeClr val="tx1"/>
                </a:solidFill>
                <a:latin typeface="Segoe UI"/>
                <a:cs typeface="Segoe UI"/>
              </a:rPr>
              <a:t>Are all security roles/duties/privileges identified? How have they been identified? How are they documented?</a:t>
            </a:r>
            <a:endParaRPr lang="en-US" sz="850">
              <a:cs typeface="Segoe UI" panose="020B0502040204020203" pitchFamily="34" charset="0"/>
            </a:endParaRPr>
          </a:p>
          <a:p>
            <a:pPr marL="171450" marR="0" lvl="0" indent="-171450" algn="l" defTabSz="914367">
              <a:lnSpc>
                <a:spcPct val="90000"/>
              </a:lnSpc>
              <a:spcBef>
                <a:spcPts val="0"/>
              </a:spcBef>
              <a:spcAft>
                <a:spcPts val="333"/>
              </a:spcAft>
              <a:buClrTx/>
              <a:buSzTx/>
              <a:buFont typeface="Arial" panose="020B0604020202020204" pitchFamily="34" charset="0"/>
              <a:buChar char="•"/>
              <a:tabLst/>
              <a:defRPr/>
            </a:pPr>
            <a:r>
              <a:rPr lang="en-US" sz="850">
                <a:latin typeface="Segoe UI"/>
                <a:cs typeface="Segoe UI"/>
              </a:rPr>
              <a:t>Do you copy standard roles before assigning? Have you created new security roles instead of customizing copies of standard roles? </a:t>
            </a:r>
            <a:endParaRPr lang="en-US" sz="850">
              <a:cs typeface="Segoe UI" panose="020B0502040204020203" pitchFamily="34" charset="0"/>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solidFill>
                  <a:schemeClr val="tx1"/>
                </a:solidFill>
                <a:latin typeface="Segoe UI"/>
                <a:ea typeface="+mn-lt"/>
                <a:cs typeface="Segoe UI"/>
              </a:rPr>
              <a:t>Have you created security roles from scratch?  How many custom security roles have you completed, compared to how many have yet to be completed?</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solidFill>
                  <a:schemeClr val="tx1"/>
                </a:solidFill>
                <a:latin typeface="Segoe UI"/>
                <a:ea typeface="+mn-lt"/>
                <a:cs typeface="Segoe UI"/>
              </a:rPr>
              <a:t>Are all users assigned to standard security roles that enable them to complete their required tasks? Or is assignment to more restrictive roles pending additional effort?</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solidFill>
                  <a:schemeClr val="tx1"/>
                </a:solidFill>
                <a:latin typeface="Segoe UI"/>
                <a:cs typeface="Segoe UI"/>
              </a:rPr>
              <a:t>How many users are assigned to the System Administrator role?</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solidFill>
                  <a:schemeClr val="tx1"/>
                </a:solidFill>
                <a:latin typeface="Segoe UI"/>
                <a:cs typeface="Segoe UI"/>
              </a:rPr>
              <a:t>Are custom security roles/duties/privileges created using a ‘design time’ approach (e.g., customizing roles using VS and storing in source control)?</a:t>
            </a:r>
            <a:endParaRPr lang="en-US">
              <a:latin typeface="Segoe UI"/>
            </a:endParaRPr>
          </a:p>
          <a:p>
            <a:pPr marL="0" lvl="0" indent="0">
              <a:buFont typeface="Arial" panose="020B0604020202020204" pitchFamily="34" charset="0"/>
              <a:buNone/>
            </a:pPr>
            <a:endParaRPr lang="en-US"/>
          </a:p>
          <a:p>
            <a:r>
              <a:rPr lang="pt-PT" sz="850">
                <a:latin typeface="Segoe UI"/>
                <a:cs typeface="Segoe UI"/>
              </a:rPr>
              <a:t>=========================</a:t>
            </a:r>
          </a:p>
          <a:p>
            <a:r>
              <a:rPr lang="pt-PT" sz="850" b="1">
                <a:latin typeface="Segoe UI"/>
                <a:cs typeface="Segoe UI"/>
              </a:rPr>
              <a:t>What we’ll do with this information?</a:t>
            </a:r>
            <a:endParaRPr lang="en-US" sz="850">
              <a:latin typeface="Segoe UI"/>
              <a:cs typeface="Segoe UI"/>
            </a:endParaRP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850">
                <a:latin typeface="Segoe UI"/>
                <a:cs typeface="Segoe UI"/>
              </a:rPr>
              <a:t>Provide recommendations and information on additional resources </a:t>
            </a:r>
            <a:r>
              <a:rPr lang="en-US" sz="850" noProof="0">
                <a:latin typeface="Segoe UI"/>
                <a:cs typeface="Segoe UI"/>
              </a:rPr>
              <a:t>or alternatives or warning in case we identify risks.</a:t>
            </a:r>
          </a:p>
          <a:p>
            <a:endParaRPr lang="en-US" noProof="0"/>
          </a:p>
          <a:p>
            <a:r>
              <a:rPr lang="en-US" sz="850" noProof="0">
                <a:latin typeface="Segoe UI"/>
                <a:cs typeface="Segoe UI"/>
              </a:rPr>
              <a:t>=========================</a:t>
            </a:r>
          </a:p>
          <a:p>
            <a:pPr marL="0" indent="0">
              <a:buFont typeface="Arial" panose="020B0604020202020204" pitchFamily="34" charset="0"/>
              <a:buNone/>
            </a:pPr>
            <a:r>
              <a:rPr lang="en-US" sz="850" b="1" noProof="0">
                <a:latin typeface="Segoe UI"/>
                <a:cs typeface="Segoe UI"/>
              </a:rPr>
              <a:t>Resources:</a:t>
            </a:r>
          </a:p>
          <a:p>
            <a:pPr marL="0" indent="0">
              <a:buFont typeface="Arial" panose="020B0604020202020204" pitchFamily="34" charset="0"/>
              <a:buNone/>
            </a:pPr>
            <a:r>
              <a:rPr lang="en-US" sz="850">
                <a:latin typeface="Segoe UI"/>
                <a:cs typeface="Segoe UI"/>
              </a:rPr>
              <a:t>Role-based security - Finance &amp; Operations | Dynamics 365 | Microsoft Docs https://docs.microsoft.com/en-us/dynamics365/fin-ops-core/dev-itpro/sysadmin/role-based-security</a:t>
            </a:r>
          </a:p>
          <a:p>
            <a:pPr marL="0" indent="0">
              <a:buFont typeface="Arial" panose="020B0604020202020204" pitchFamily="34" charset="0"/>
              <a:buNone/>
            </a:pPr>
            <a:r>
              <a:rPr lang="en-US" sz="850">
                <a:latin typeface="Segoe UI"/>
                <a:cs typeface="Segoe UI"/>
              </a:rPr>
              <a:t>Security diagnostics for task recordings - Finance &amp; Operations | Dynamics 365 | Microsoft Docs https://docs.microsoft.com/en-us/dynamics365/fin-ops-core/dev-itpro/sysadmin/tasks/security-diagstics-task-recordings</a:t>
            </a:r>
          </a:p>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4</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y are we asking this information?</a:t>
            </a:r>
          </a:p>
          <a:p>
            <a:pPr marL="0" lvl="0" indent="0">
              <a:buFont typeface="Arial" panose="020B0604020202020204" pitchFamily="34" charset="0"/>
              <a:buNone/>
            </a:pPr>
            <a:r>
              <a:rPr lang="en-US"/>
              <a:t>Here we want to understand your plan for rolling out security roles in Finance and Operations across your organization.</a:t>
            </a:r>
          </a:p>
          <a:p>
            <a:pPr marL="0" lvl="0" indent="0">
              <a:buFont typeface="Arial" panose="020B0604020202020204" pitchFamily="34" charset="0"/>
              <a:buNone/>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p>
          <a:p>
            <a:pPr marL="0" lvl="0" indent="0">
              <a:buFont typeface="Arial" panose="020B0604020202020204" pitchFamily="34" charset="0"/>
              <a:buNone/>
            </a:pPr>
            <a:r>
              <a:rPr lang="en-US"/>
              <a:t>You should consider and answer the following questions in relation rolling out security roles in Finance and Operations application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solidFill>
                  <a:schemeClr val="tx1"/>
                </a:solidFill>
              </a:rPr>
              <a:t>Have you tried to reduce as much as possible the number of security roles?  How many security roles are assigned to most users? What is your approach to assignments for users requiring multiple roles?</a:t>
            </a:r>
            <a:endParaRPr lang="en-US" sz="800">
              <a:solidFill>
                <a:schemeClr val="tx1"/>
              </a:solidFill>
              <a:cs typeface="Segoe UI"/>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gradFill>
                  <a:gsLst>
                    <a:gs pos="2917">
                      <a:schemeClr val="tx1"/>
                    </a:gs>
                    <a:gs pos="30000">
                      <a:schemeClr val="tx1"/>
                    </a:gs>
                  </a:gsLst>
                  <a:lin ang="5400000" scaled="0"/>
                </a:gradFill>
              </a:rPr>
              <a:t>Are security roles part of golden config? How will they be moved between environments?</a:t>
            </a:r>
            <a:endParaRPr lang="en-US" sz="800" i="1">
              <a:solidFill>
                <a:schemeClr val="tx1"/>
              </a:solidFill>
              <a:cs typeface="Segoe UI"/>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solidFill>
                  <a:schemeClr val="tx1"/>
                </a:solidFill>
                <a:cs typeface="Segoe UI"/>
              </a:rPr>
              <a:t>What is your strategy to update the security roles as you roll out new entities / functionality? </a:t>
            </a:r>
            <a:r>
              <a:rPr lang="en-US" sz="800">
                <a:solidFill>
                  <a:schemeClr val="tx1"/>
                </a:solidFill>
                <a:ea typeface="+mn-lt"/>
                <a:cs typeface="+mn-lt"/>
              </a:rPr>
              <a:t>Is the security model scalable for future rollouts?  (e.g., adding more business units or rolling out to new countries/regions)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solidFill>
                  <a:schemeClr val="tx1"/>
                </a:solidFill>
              </a:rPr>
              <a:t>Do you plan to use Azure-Active Directory synchronized groups to manage access right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solidFill>
                  <a:schemeClr val="tx1"/>
                </a:solidFill>
              </a:rPr>
              <a:t>Will an organization hierarchy be used to define security access within security roles for certain users?  Will automatic role assignment be used?</a:t>
            </a:r>
          </a:p>
          <a:p>
            <a:pPr marL="0" lvl="0" indent="0">
              <a:buFont typeface="Arial" panose="020B0604020202020204" pitchFamily="34" charset="0"/>
              <a:buNone/>
            </a:pPr>
            <a:endParaRPr lang="en-US"/>
          </a:p>
          <a:p>
            <a:r>
              <a:rPr lang="pt-PT"/>
              <a:t>=========================</a:t>
            </a:r>
          </a:p>
          <a:p>
            <a:r>
              <a:rPr lang="pt-PT" b="1"/>
              <a:t>What we’ll do with this information?</a:t>
            </a:r>
            <a:endParaRPr lang="en-US"/>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a:t>Provide recommendations and information on additional resources.</a:t>
            </a: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r>
              <a:rPr lang="en-US" noProof="0"/>
              <a:t>=========================</a:t>
            </a:r>
          </a:p>
          <a:p>
            <a:pPr marL="0" indent="0">
              <a:buFont typeface="Arial" panose="020B0604020202020204" pitchFamily="34" charset="0"/>
              <a:buNone/>
            </a:pPr>
            <a:r>
              <a:rPr lang="en-US" b="1" noProof="0"/>
              <a:t>Resources:</a:t>
            </a:r>
          </a:p>
          <a:p>
            <a:pPr marL="0" indent="0">
              <a:buFont typeface="Arial" panose="020B0604020202020204" pitchFamily="34" charset="0"/>
              <a:buNone/>
            </a:pPr>
            <a:r>
              <a:rPr lang="en-US" b="0" noProof="0"/>
              <a:t>Assign users to security roles - Finance &amp; Operations | Dynamics 365 | Microsoft Docs  https://docs.microsoft.com/en-us/dynamics365/fin-ops-core/dev-itpro/sysadmin/tasks/assign-users-security-roles</a:t>
            </a:r>
          </a:p>
          <a:p>
            <a:pPr marL="0" indent="0">
              <a:buFont typeface="Arial" panose="020B0604020202020204" pitchFamily="34" charset="0"/>
              <a:buNone/>
            </a:pPr>
            <a:r>
              <a:rPr lang="en-US" b="0" noProof="0"/>
              <a:t>Import or export a customized security configuration by using Data management - Finance &amp; Operations | Dynamics 365 | Microsoft Docs -https://docs.microsoft.com/en-us/dynamics365/fin-ops-core/dev-itpro/sysadmin/import-export-customized-security</a:t>
            </a:r>
          </a:p>
          <a:p>
            <a:pPr marL="0" indent="0">
              <a:buFont typeface="Arial" panose="020B0604020202020204" pitchFamily="34" charset="0"/>
              <a:buNone/>
            </a:pPr>
            <a:endParaRPr lang="en-US" b="1" noProof="0"/>
          </a:p>
        </p:txBody>
      </p:sp>
      <p:sp>
        <p:nvSpPr>
          <p:cNvPr id="4" name="Slide Number Placeholder 3"/>
          <p:cNvSpPr>
            <a:spLocks noGrp="1"/>
          </p:cNvSpPr>
          <p:nvPr>
            <p:ph type="sldNum" sz="quarter" idx="5"/>
          </p:nvPr>
        </p:nvSpPr>
        <p:spPr/>
        <p:txBody>
          <a:bodyPr/>
          <a:lstStyle/>
          <a:p>
            <a:fld id="{820133BD-6629-D245-9461-799999F1C98F}" type="slidenum">
              <a:rPr lang="en-US" smtClean="0"/>
              <a:t>15</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y are we asking this information?</a:t>
            </a:r>
          </a:p>
          <a:p>
            <a:pPr marL="0" lvl="0" indent="0">
              <a:buFont typeface="Arial" panose="020B0604020202020204" pitchFamily="34" charset="0"/>
              <a:buNone/>
            </a:pPr>
            <a:r>
              <a:rPr lang="en-US"/>
              <a:t>Here we want to understand your planned use of advanced features like Segregation of Duties and </a:t>
            </a:r>
            <a:r>
              <a:rPr lang="en-US" err="1"/>
              <a:t>eXtensible</a:t>
            </a:r>
            <a:r>
              <a:rPr lang="en-US"/>
              <a:t> Data Security policies.</a:t>
            </a:r>
          </a:p>
          <a:p>
            <a:pPr marL="0" lvl="0" indent="0">
              <a:buFont typeface="Arial" panose="020B0604020202020204" pitchFamily="34" charset="0"/>
              <a:buNone/>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p>
          <a:p>
            <a:pPr marL="0" lvl="0" indent="0">
              <a:buFont typeface="Arial" panose="020B0604020202020204" pitchFamily="34" charset="0"/>
              <a:buNone/>
            </a:pPr>
            <a:r>
              <a:rPr lang="en-US"/>
              <a:t>You should consider and answer the following questions in relation to Segregation of Duties and </a:t>
            </a:r>
            <a:r>
              <a:rPr lang="en-US" err="1"/>
              <a:t>eXtensible</a:t>
            </a:r>
            <a:r>
              <a:rPr lang="en-US"/>
              <a:t> Data Security in Finance and Operations application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solidFill>
                  <a:schemeClr val="tx1"/>
                </a:solidFill>
                <a:cs typeface="Segoe UI"/>
              </a:rPr>
              <a:t>How are you using segregation of duties?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solidFill>
                  <a:schemeClr val="tx1"/>
                </a:solidFill>
                <a:cs typeface="Segoe UI"/>
              </a:rPr>
              <a:t>Will you use segregation of duties rules in the application?</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solidFill>
                  <a:schemeClr val="tx1"/>
                </a:solidFill>
                <a:cs typeface="Segoe UI"/>
              </a:rPr>
              <a:t>Do you have specific rules defined?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a:solidFill>
                  <a:schemeClr val="tx1"/>
                </a:solidFill>
              </a:rPr>
              <a:t>If you have identified data security restrictions to implement, have you differentiated between actual need to restrict access to data for security purposes and filtering access to data for ease of use?</a:t>
            </a:r>
            <a:endParaRPr lang="en-US" sz="900">
              <a:solidFill>
                <a:schemeClr val="tx1"/>
              </a:solidFill>
              <a:ea typeface="+mn-ea"/>
              <a:cs typeface="Segoe UI"/>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a:gradFill>
                  <a:gsLst>
                    <a:gs pos="2917">
                      <a:schemeClr val="tx1"/>
                    </a:gs>
                    <a:gs pos="30000">
                      <a:schemeClr val="tx1"/>
                    </a:gs>
                  </a:gsLst>
                  <a:lin ang="5400000" scaled="0"/>
                </a:gradFill>
              </a:rPr>
              <a:t>How do you control access and permissions for users working in the same area?</a:t>
            </a:r>
            <a:r>
              <a:rPr lang="en-US" sz="900"/>
              <a:t>​</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a:solidFill>
                  <a:schemeClr val="tx1"/>
                </a:solidFill>
              </a:rPr>
              <a:t>Are there extraordinary requirements for row-level security and what are the design patterns that will be used to solve them? Is the approach for using XDS policies finalized?</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i="1">
              <a:solidFill>
                <a:schemeClr val="tx1"/>
              </a:solidFill>
              <a:cs typeface="Segoe UI"/>
            </a:endParaRPr>
          </a:p>
          <a:p>
            <a:r>
              <a:rPr lang="pt-PT"/>
              <a:t>=========================</a:t>
            </a:r>
          </a:p>
          <a:p>
            <a:r>
              <a:rPr lang="pt-PT" b="1"/>
              <a:t>What we’ll do with this information?</a:t>
            </a:r>
            <a:endParaRPr lang="en-US"/>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a:t>Provide recommendations and information on additional resources.</a:t>
            </a: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r>
              <a:rPr lang="en-US" noProof="0"/>
              <a:t>=========================</a:t>
            </a:r>
          </a:p>
          <a:p>
            <a:pPr marL="0" indent="0">
              <a:buFont typeface="Arial" panose="020B0604020202020204" pitchFamily="34" charset="0"/>
              <a:buNone/>
            </a:pPr>
            <a:r>
              <a:rPr lang="en-US" b="1" noProof="0"/>
              <a:t>Resources:</a:t>
            </a: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a:t>Set up segregation of duties - Finance &amp; Operations | Dynamics 365 | Microsoft Docs https://docs.microsoft.com/en-us/dynamics365/fin-ops-core/dev-itpro/sysadmin/tasks/set-up-segregation-duties</a:t>
            </a: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a:t>Extensible data security policies - Finance &amp; Operations | Dynamics 365 | Microsoft Docs https://docs.microsoft.com/en-us/dynamics365/fin-ops-core/dev-itpro/sysadmin/extensible-data-security-policies</a:t>
            </a:r>
          </a:p>
        </p:txBody>
      </p:sp>
      <p:sp>
        <p:nvSpPr>
          <p:cNvPr id="4" name="Slide Number Placeholder 3"/>
          <p:cNvSpPr>
            <a:spLocks noGrp="1"/>
          </p:cNvSpPr>
          <p:nvPr>
            <p:ph type="sldNum" sz="quarter" idx="5"/>
          </p:nvPr>
        </p:nvSpPr>
        <p:spPr/>
        <p:txBody>
          <a:bodyPr/>
          <a:lstStyle/>
          <a:p>
            <a:fld id="{820133BD-6629-D245-9461-799999F1C98F}" type="slidenum">
              <a:rPr lang="en-US" smtClean="0"/>
              <a:t>16</a:t>
            </a:fld>
            <a:endParaRPr lang="en-US"/>
          </a:p>
        </p:txBody>
      </p:sp>
    </p:spTree>
    <p:extLst>
      <p:ext uri="{BB962C8B-B14F-4D97-AF65-F5344CB8AC3E}">
        <p14:creationId xmlns:p14="http://schemas.microsoft.com/office/powerpoint/2010/main" val="18552562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y are we asking this information?</a:t>
            </a:r>
          </a:p>
          <a:p>
            <a:pPr marL="0" lvl="0" indent="0">
              <a:buFont typeface="Arial" panose="020B0604020202020204" pitchFamily="34" charset="0"/>
              <a:buNone/>
            </a:pPr>
            <a:r>
              <a:rPr lang="en-US"/>
              <a:t>Some applications have unique considerations, such as Human Resources. Here we want to understand your plan for using these application-specific features effectively and efficiently.</a:t>
            </a:r>
          </a:p>
          <a:p>
            <a:pPr marL="0" lvl="0" indent="0">
              <a:buFont typeface="Arial" panose="020B0604020202020204" pitchFamily="34" charset="0"/>
              <a:buNone/>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p>
          <a:p>
            <a:pPr marL="0" lvl="0" indent="0">
              <a:buFont typeface="Arial" panose="020B0604020202020204" pitchFamily="34" charset="0"/>
              <a:buNone/>
            </a:pPr>
            <a:r>
              <a:rPr lang="en-US"/>
              <a:t>You should consider and answer the following questions in relation to implementing Human Resource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solidFill>
                  <a:schemeClr val="tx1"/>
                </a:solidFill>
              </a:rPr>
              <a:t>What is the strategy for maintaining worker data in Dynamics 365 Human Resource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solidFill>
                  <a:schemeClr val="tx1"/>
                </a:solidFill>
              </a:rPr>
              <a:t>Are you planning to restrict access to certain leave and absence plans?</a:t>
            </a:r>
          </a:p>
          <a:p>
            <a:pPr marL="0" lvl="0" indent="0">
              <a:buFont typeface="Arial" panose="020B0604020202020204" pitchFamily="34" charset="0"/>
              <a:buNone/>
            </a:pPr>
            <a:endParaRPr lang="en-US"/>
          </a:p>
          <a:p>
            <a:r>
              <a:rPr lang="pt-PT"/>
              <a:t>=========================</a:t>
            </a:r>
          </a:p>
          <a:p>
            <a:r>
              <a:rPr lang="pt-PT" b="1"/>
              <a:t>What we’ll do with this information?</a:t>
            </a:r>
            <a:endParaRPr lang="en-US"/>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a:t>Provide recommendations and information on additional resources.</a:t>
            </a: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r>
              <a:rPr lang="en-US" noProof="0"/>
              <a:t>=========================</a:t>
            </a:r>
          </a:p>
          <a:p>
            <a:pPr marL="0" indent="0">
              <a:buFont typeface="Arial" panose="020B0604020202020204" pitchFamily="34" charset="0"/>
              <a:buNone/>
            </a:pPr>
            <a:r>
              <a:rPr lang="en-US" b="1" noProof="0"/>
              <a:t>Resources:</a:t>
            </a: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7</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a:t>=========================</a:t>
            </a:r>
          </a:p>
          <a:p>
            <a:r>
              <a:rPr lang="en-US" b="1" noProof="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It is rare that one security pattern suits all user needs and roles. </a:t>
            </a:r>
            <a:br>
              <a:rPr lang="en-US" noProof="0"/>
            </a:br>
            <a:r>
              <a:rPr lang="en-US" noProof="0"/>
              <a:t>We would like to understand how many different patterns you are going to implement in the proj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It is very frequent that very complex security models are designed to accommodate the needs of a fraction of users that don’t fall in the main model.</a:t>
            </a:r>
            <a:br>
              <a:rPr lang="en-US" noProof="0"/>
            </a:br>
            <a:r>
              <a:rPr lang="en-US" noProof="0"/>
              <a:t>In that case, there could be an opportunity to challenge if those users couldn’t access the desired data in a different manner or elsewhere (reporting, BI, etc.)</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11514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a:t>=========================</a:t>
            </a:r>
          </a:p>
          <a:p>
            <a:r>
              <a:rPr lang="en-US" b="1" noProof="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Security roles do not necessarily need to match the user’s role. In fact, in most cases, similar user roles can be managed with one security ro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Keeping the number of security roles to a minimum makes things easier to manage. Security roles don’t necessarily need to map one for one with the various job titles of your users. They can be grouped and cumula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Security roles should be created at the root business unit so that they can be easier to use across the organization but also to facilitate ALM, as only root security roles can be added to a sol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Existing roles shouldn’t be updated too much. For new needs, just start from a copy of an existing ro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Users or service accounts with elevated privileges (i.e., typically “System Administrator”, but any security role granting elevated privileges to confidential data or critical processes) should be kept to a minimum, actively monitored, secured (for example with additional access policies) and when possible, granted in a “just-in-time” access mode. </a:t>
            </a:r>
            <a:br>
              <a:rPr lang="en-US" noProof="0"/>
            </a:br>
            <a:r>
              <a:rPr lang="en-US" noProof="0"/>
              <a:t>This is valid for security roles assigned to users directly or through teams.</a:t>
            </a:r>
          </a:p>
          <a:p>
            <a:endParaRPr lang="en-US" noProof="0"/>
          </a:p>
          <a:p>
            <a:r>
              <a:rPr lang="en-US" noProof="0"/>
              <a:t>=========================</a:t>
            </a:r>
          </a:p>
          <a:p>
            <a:pPr marL="0" indent="0">
              <a:buFont typeface="Arial" panose="020B0604020202020204" pitchFamily="34" charset="0"/>
              <a:buNone/>
            </a:pPr>
            <a:r>
              <a:rPr lang="en-US" b="1" noProof="0"/>
              <a:t>Resources:</a:t>
            </a:r>
          </a:p>
          <a:p>
            <a:pPr marL="171450" indent="-171450">
              <a:buFont typeface="Arial" panose="020B0604020202020204" pitchFamily="34" charset="0"/>
              <a:buChar char="•"/>
            </a:pPr>
            <a:r>
              <a:rPr lang="en-US" noProof="0"/>
              <a:t>Configure user security (https://docs.microsoft.com/power-platform/admin/database-security)</a:t>
            </a:r>
          </a:p>
          <a:p>
            <a:endParaRPr lang="en-US"/>
          </a:p>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9</a:t>
            </a:fld>
            <a:endParaRPr lang="en-US"/>
          </a:p>
        </p:txBody>
      </p:sp>
    </p:spTree>
    <p:extLst>
      <p:ext uri="{BB962C8B-B14F-4D97-AF65-F5344CB8AC3E}">
        <p14:creationId xmlns:p14="http://schemas.microsoft.com/office/powerpoint/2010/main" val="33702419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a:t>=========================</a:t>
            </a:r>
          </a:p>
          <a:p>
            <a:r>
              <a:rPr lang="en-US" b="1" noProof="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he business unit structure doesn’t have to reflect the company's internal organization.</a:t>
            </a:r>
            <a:br>
              <a:rPr lang="en-US"/>
            </a:br>
            <a:r>
              <a:rPr lang="en-US"/>
              <a:t>In fact, its only purpose and impact is related to access rights.</a:t>
            </a:r>
            <a:br>
              <a:rPr lang="en-US"/>
            </a:br>
            <a:r>
              <a:rPr lang="en-US"/>
              <a:t>Having many business units and many levels in the hierarchy can impact performance.</a:t>
            </a:r>
            <a:br>
              <a:rPr lang="en-US"/>
            </a:br>
            <a:r>
              <a:rPr lang="en-US"/>
              <a:t>Try to keep the number of business units to a minimu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f you need to maintain a reflection of a company’s internal organization for a purpose different than security, consider using a custom entity.</a:t>
            </a:r>
            <a:br>
              <a:rPr lang="en-US"/>
            </a:br>
            <a:r>
              <a:rPr lang="en-US"/>
              <a:t>The business unit structure doesn’t necessarily need to reflect your internal business organization.</a:t>
            </a:r>
          </a:p>
          <a:p>
            <a:pPr marL="171450" indent="-171450">
              <a:buFont typeface="Arial" panose="020B0604020202020204" pitchFamily="34" charset="0"/>
              <a:buChar char="•"/>
            </a:pPr>
            <a:endParaRPr lang="en-US" noProof="0"/>
          </a:p>
          <a:p>
            <a:r>
              <a:rPr lang="en-US" noProof="0"/>
              <a:t>=========================</a:t>
            </a:r>
          </a:p>
          <a:p>
            <a:pPr marL="0" indent="0">
              <a:buFont typeface="Arial" panose="020B0604020202020204" pitchFamily="34" charset="0"/>
              <a:buNone/>
            </a:pPr>
            <a:r>
              <a:rPr lang="en-US" b="1" noProof="0"/>
              <a:t>Resour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latin typeface="+mn-lt"/>
                <a:ea typeface="+mn-ea"/>
                <a:cs typeface="+mn-cs"/>
              </a:rPr>
              <a:t>Business units (https://docs.microsoft.com/power-platform/admin/wp-security-cds#business-uni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latin typeface="+mn-lt"/>
                <a:ea typeface="+mn-ea"/>
                <a:cs typeface="+mn-cs"/>
              </a:rPr>
              <a:t>Scalable Security Modeling whitepaper (https://www.microsoft.com/download/details.aspx?id=4590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0</a:t>
            </a:fld>
            <a:endParaRPr lang="en-US"/>
          </a:p>
        </p:txBody>
      </p:sp>
    </p:spTree>
    <p:extLst>
      <p:ext uri="{BB962C8B-B14F-4D97-AF65-F5344CB8AC3E}">
        <p14:creationId xmlns:p14="http://schemas.microsoft.com/office/powerpoint/2010/main" val="40646239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a:t>=========================</a:t>
            </a:r>
          </a:p>
          <a:p>
            <a:r>
              <a:rPr lang="en-US" b="1" noProof="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Understanding your security design and automation mechanisms related to teams</a:t>
            </a:r>
          </a:p>
          <a:p>
            <a:endParaRPr lang="en-US" noProof="0"/>
          </a:p>
          <a:p>
            <a:r>
              <a:rPr lang="en-US" noProof="0"/>
              <a:t>=========================</a:t>
            </a:r>
          </a:p>
          <a:p>
            <a:pPr marL="0" indent="0">
              <a:buFont typeface="Arial" panose="020B0604020202020204" pitchFamily="34" charset="0"/>
              <a:buNone/>
            </a:pPr>
            <a:r>
              <a:rPr lang="en-US" b="1" noProof="0"/>
              <a:t>Resources:</a:t>
            </a:r>
          </a:p>
          <a:p>
            <a:pPr marL="171450" indent="-171450">
              <a:buFont typeface="Arial" panose="020B0604020202020204" pitchFamily="34" charset="0"/>
              <a:buChar char="•"/>
            </a:pPr>
            <a:r>
              <a:rPr lang="en-US"/>
              <a:t>Manage teams (https://docs.microsoft.com/power-platform/admin/manage-teams)</a:t>
            </a:r>
          </a:p>
        </p:txBody>
      </p:sp>
      <p:sp>
        <p:nvSpPr>
          <p:cNvPr id="4" name="Slide Number Placeholder 3"/>
          <p:cNvSpPr>
            <a:spLocks noGrp="1"/>
          </p:cNvSpPr>
          <p:nvPr>
            <p:ph type="sldNum" sz="quarter" idx="5"/>
          </p:nvPr>
        </p:nvSpPr>
        <p:spPr/>
        <p:txBody>
          <a:bodyPr/>
          <a:lstStyle/>
          <a:p>
            <a:fld id="{820133BD-6629-D245-9461-799999F1C98F}" type="slidenum">
              <a:rPr lang="en-US" smtClean="0"/>
              <a:t>21</a:t>
            </a:fld>
            <a:endParaRPr lang="en-US"/>
          </a:p>
        </p:txBody>
      </p:sp>
    </p:spTree>
    <p:extLst>
      <p:ext uri="{BB962C8B-B14F-4D97-AF65-F5344CB8AC3E}">
        <p14:creationId xmlns:p14="http://schemas.microsoft.com/office/powerpoint/2010/main" val="12598575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a:t>=========================</a:t>
            </a:r>
          </a:p>
          <a:p>
            <a:r>
              <a:rPr lang="en-US" b="1" noProof="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Field-level security is global and not user / business unit aw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Hierarchy security can cause performance issues in case of complex configuration or if there are too many levels in the depth of the hierarch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Automating sharing at scale can cause performances issues (the </a:t>
            </a:r>
            <a:r>
              <a:rPr lang="en-US" noProof="0" err="1"/>
              <a:t>PrincipalObjectAccess</a:t>
            </a:r>
            <a:r>
              <a:rPr lang="en-US" noProof="0"/>
              <a:t> – POA – table gets filled with exceptions to the standard security model).</a:t>
            </a:r>
            <a:br>
              <a:rPr lang="en-US" noProof="0"/>
            </a:br>
            <a:r>
              <a:rPr lang="en-US" noProof="0"/>
              <a:t>Sharing should remain a manual process to grant exceptions to the security model in place and should be avoided at scale.</a:t>
            </a:r>
            <a:br>
              <a:rPr lang="en-US" noProof="0"/>
            </a:br>
            <a:r>
              <a:rPr lang="en-US" noProof="0"/>
              <a:t>While it’s easy to adjust user’s business unit, teams and roles, it can be complex to do a data migration on custom sharing rule after a re-organ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On cascading behaviors, have you considered enabling this </a:t>
            </a:r>
            <a:r>
              <a:rPr lang="en-US" noProof="0" err="1"/>
              <a:t>OrgDBSetting</a:t>
            </a:r>
            <a:r>
              <a:rPr lang="en-US" noProof="0"/>
              <a:t>: </a:t>
            </a:r>
            <a:r>
              <a:rPr lang="en-US" noProof="0" err="1"/>
              <a:t>DisableImplicitSharingOfCommunicationActivities</a:t>
            </a:r>
            <a:r>
              <a:rPr lang="en-US" noProof="0"/>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If using other mechanisms (e.g., plug-ins on the Retrieve and RetrieveMultiple messages) have you assessed the full impact on performance and if all data endpoints are covered?</a:t>
            </a:r>
          </a:p>
          <a:p>
            <a:pPr marL="0" indent="0">
              <a:buFont typeface="Arial" panose="020B0604020202020204" pitchFamily="34" charset="0"/>
              <a:buNone/>
            </a:pPr>
            <a:endParaRPr lang="en-US" noProof="0"/>
          </a:p>
          <a:p>
            <a:r>
              <a:rPr lang="en-US" noProof="0"/>
              <a:t>=========================</a:t>
            </a:r>
          </a:p>
          <a:p>
            <a:pPr marL="0" indent="0">
              <a:buFont typeface="Arial" panose="020B0604020202020204" pitchFamily="34" charset="0"/>
              <a:buNone/>
            </a:pPr>
            <a:r>
              <a:rPr lang="en-US" b="1" noProof="0"/>
              <a:t>Resources:</a:t>
            </a:r>
          </a:p>
          <a:p>
            <a:pPr marL="171450" indent="-171450">
              <a:buFont typeface="Arial" panose="020B0604020202020204" pitchFamily="34" charset="0"/>
              <a:buChar char="•"/>
            </a:pPr>
            <a:r>
              <a:rPr lang="en-US" noProof="0"/>
              <a:t>Field-level security (https://docs.microsoft.com/power-platform/admin/field-level-security)</a:t>
            </a:r>
          </a:p>
          <a:p>
            <a:pPr marL="171450" indent="-171450">
              <a:buFont typeface="Arial" panose="020B0604020202020204" pitchFamily="34" charset="0"/>
              <a:buChar char="•"/>
            </a:pPr>
            <a:r>
              <a:rPr lang="en-US" noProof="0"/>
              <a:t>Hierarchy security (https://docs.microsoft.com/power-platform/admin/hierarchy-secur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noProof="0" err="1">
                <a:solidFill>
                  <a:srgbClr val="1E1E1E"/>
                </a:solidFill>
                <a:effectLst/>
                <a:latin typeface="Segoe UI Light" panose="020B0502040204020203" pitchFamily="34" charset="0"/>
              </a:rPr>
              <a:t>OrgDBOrgSettings</a:t>
            </a:r>
            <a:r>
              <a:rPr lang="en-US" b="0" i="0" noProof="0">
                <a:solidFill>
                  <a:srgbClr val="1E1E1E"/>
                </a:solidFill>
                <a:effectLst/>
                <a:latin typeface="Segoe UI Light" panose="020B0502040204020203" pitchFamily="34" charset="0"/>
              </a:rPr>
              <a:t> tool (https://support.microsoft.com/help/2691237/orgdborgsettings-tool-for-microsoft-dynamics-crm)</a:t>
            </a:r>
            <a:endParaRPr lang="en-US" noProof="0"/>
          </a:p>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2</a:t>
            </a:fld>
            <a:endParaRPr lang="en-US"/>
          </a:p>
        </p:txBody>
      </p:sp>
    </p:spTree>
    <p:extLst>
      <p:ext uri="{BB962C8B-B14F-4D97-AF65-F5344CB8AC3E}">
        <p14:creationId xmlns:p14="http://schemas.microsoft.com/office/powerpoint/2010/main" val="230832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a:t>=========================</a:t>
            </a:r>
          </a:p>
          <a:p>
            <a:r>
              <a:rPr lang="en-US" b="1" noProof="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Security roles and entity privileges can be used to tailor and trim the experience for your end-us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The less elements the users see, the easier the experience is (who even goes through a list of dozens of view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Apps can be associated to security roles and help simplify the overall user experience by trimming the list of views, charts, dashboards, forms, business process flows, etc.</a:t>
            </a:r>
          </a:p>
        </p:txBody>
      </p:sp>
      <p:sp>
        <p:nvSpPr>
          <p:cNvPr id="4" name="Slide Number Placeholder 3"/>
          <p:cNvSpPr>
            <a:spLocks noGrp="1"/>
          </p:cNvSpPr>
          <p:nvPr>
            <p:ph type="sldNum" sz="quarter" idx="5"/>
          </p:nvPr>
        </p:nvSpPr>
        <p:spPr/>
        <p:txBody>
          <a:bodyPr/>
          <a:lstStyle/>
          <a:p>
            <a:fld id="{820133BD-6629-D245-9461-799999F1C98F}" type="slidenum">
              <a:rPr lang="en-US" smtClean="0"/>
              <a:t>23</a:t>
            </a:fld>
            <a:endParaRPr lang="en-US"/>
          </a:p>
        </p:txBody>
      </p:sp>
    </p:spTree>
    <p:extLst>
      <p:ext uri="{BB962C8B-B14F-4D97-AF65-F5344CB8AC3E}">
        <p14:creationId xmlns:p14="http://schemas.microsoft.com/office/powerpoint/2010/main" val="33702419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13/2021 3:00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75484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a:t>=========================</a:t>
            </a:r>
          </a:p>
          <a:p>
            <a:r>
              <a:rPr lang="en-US" b="1" noProof="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Understanding how the system will behave at scale in terms of number of users, data volume, data upda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As general rule, regular updates to user / team / business unit entities should be avoided. </a:t>
            </a:r>
            <a:br>
              <a:rPr lang="en-US" noProof="0"/>
            </a:br>
            <a:r>
              <a:rPr lang="en-US" noProof="0"/>
              <a:t>E.g., updating an attribute on User can cause the security cache to flush and potentially impact perform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Providing organization / global read access to records can optimize performance for the execution of a view, as the system does not have to take into consideration the security principles that apply to a user (individual roles, team roles, shared records, hierarchy…) when retrieving records.</a:t>
            </a:r>
          </a:p>
        </p:txBody>
      </p:sp>
      <p:sp>
        <p:nvSpPr>
          <p:cNvPr id="4" name="Slide Number Placeholder 3"/>
          <p:cNvSpPr>
            <a:spLocks noGrp="1"/>
          </p:cNvSpPr>
          <p:nvPr>
            <p:ph type="sldNum" sz="quarter" idx="5"/>
          </p:nvPr>
        </p:nvSpPr>
        <p:spPr/>
        <p:txBody>
          <a:bodyPr/>
          <a:lstStyle/>
          <a:p>
            <a:fld id="{820133BD-6629-D245-9461-799999F1C98F}" type="slidenum">
              <a:rPr lang="en-US" smtClean="0"/>
              <a:t>25</a:t>
            </a:fld>
            <a:endParaRPr lang="en-US"/>
          </a:p>
        </p:txBody>
      </p:sp>
    </p:spTree>
    <p:extLst>
      <p:ext uri="{BB962C8B-B14F-4D97-AF65-F5344CB8AC3E}">
        <p14:creationId xmlns:p14="http://schemas.microsoft.com/office/powerpoint/2010/main" val="12598575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850">
                <a:latin typeface="Segoe UI"/>
                <a:cs typeface="Segoe UI"/>
              </a:rPr>
              <a:t>=========================</a:t>
            </a:r>
          </a:p>
          <a:p>
            <a:r>
              <a:rPr lang="pt-PT" sz="850" b="1" err="1">
                <a:latin typeface="Segoe UI"/>
                <a:cs typeface="Segoe UI"/>
              </a:rPr>
              <a:t>Why</a:t>
            </a:r>
            <a:r>
              <a:rPr lang="pt-PT" sz="850" b="1">
                <a:latin typeface="Segoe UI"/>
                <a:cs typeface="Segoe UI"/>
              </a:rPr>
              <a:t> are </a:t>
            </a:r>
            <a:r>
              <a:rPr lang="pt-PT" sz="850" b="1" err="1">
                <a:latin typeface="Segoe UI"/>
                <a:cs typeface="Segoe UI"/>
              </a:rPr>
              <a:t>we</a:t>
            </a:r>
            <a:r>
              <a:rPr lang="pt-PT" sz="850" b="1">
                <a:latin typeface="Segoe UI"/>
                <a:cs typeface="Segoe UI"/>
              </a:rPr>
              <a:t> </a:t>
            </a:r>
            <a:r>
              <a:rPr lang="pt-PT" sz="850" b="1" err="1">
                <a:latin typeface="Segoe UI"/>
                <a:cs typeface="Segoe UI"/>
              </a:rPr>
              <a:t>asking</a:t>
            </a:r>
            <a:r>
              <a:rPr lang="pt-PT" sz="850" b="1">
                <a:latin typeface="Segoe UI"/>
                <a:cs typeface="Segoe UI"/>
              </a:rPr>
              <a:t> </a:t>
            </a:r>
            <a:r>
              <a:rPr lang="pt-PT" sz="850" b="1" err="1">
                <a:latin typeface="Segoe UI"/>
                <a:cs typeface="Segoe UI"/>
              </a:rPr>
              <a:t>this</a:t>
            </a:r>
            <a:r>
              <a:rPr lang="pt-PT" sz="850" b="1">
                <a:latin typeface="Segoe UI"/>
                <a:cs typeface="Segoe UI"/>
              </a:rPr>
              <a:t> </a:t>
            </a:r>
            <a:r>
              <a:rPr lang="pt-PT" sz="850" b="1" err="1">
                <a:latin typeface="Segoe UI"/>
                <a:cs typeface="Segoe UI"/>
              </a:rPr>
              <a:t>information</a:t>
            </a:r>
            <a:r>
              <a:rPr lang="pt-PT" sz="850" b="1">
                <a:latin typeface="Segoe UI"/>
                <a:cs typeface="Segoe UI"/>
              </a:rPr>
              <a:t>?</a:t>
            </a: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850">
                <a:latin typeface="Segoe UI"/>
                <a:cs typeface="Segoe UI"/>
              </a:rPr>
              <a:t>Azure Active Directory is the primary authentication provider for Dynamics 365. </a:t>
            </a:r>
            <a:r>
              <a:rPr lang="en-US" sz="900">
                <a:solidFill>
                  <a:schemeClr val="tx1"/>
                </a:solidFill>
                <a:latin typeface="Segoe UI"/>
                <a:ea typeface="+mn-lt"/>
                <a:cs typeface="Segoe UI"/>
              </a:rPr>
              <a:t>The authentication strategy for the solution, including tenant design and planned use of features such as Conditional Access or Multi-factor authentication, includes but is not limited to Dynamics applications. Meeting security requirements requires attention to security capabilities within Dynamics, as well as beyond.</a:t>
            </a:r>
          </a:p>
          <a:p>
            <a:pPr marL="0" lvl="0" indent="0">
              <a:buFont typeface="Arial" panose="020B0604020202020204" pitchFamily="34" charset="0"/>
              <a:buNone/>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pt-PT" sz="850">
                <a:latin typeface="Segoe UI"/>
                <a:cs typeface="Segoe UI"/>
              </a:rPr>
              <a:t>=========================</a:t>
            </a:r>
          </a:p>
          <a:p>
            <a:r>
              <a:rPr lang="pt-PT" sz="850" b="1" err="1">
                <a:latin typeface="Segoe UI"/>
                <a:cs typeface="Segoe UI"/>
              </a:rPr>
              <a:t>What</a:t>
            </a:r>
            <a:r>
              <a:rPr lang="pt-PT" sz="850" b="1">
                <a:latin typeface="Segoe UI"/>
                <a:cs typeface="Segoe UI"/>
              </a:rPr>
              <a:t> to </a:t>
            </a:r>
            <a:r>
              <a:rPr lang="pt-PT" sz="850" b="1" err="1">
                <a:latin typeface="Segoe UI"/>
                <a:cs typeface="Segoe UI"/>
              </a:rPr>
              <a:t>include</a:t>
            </a:r>
            <a:r>
              <a:rPr lang="pt-PT" sz="850" b="1">
                <a:latin typeface="Segoe UI"/>
                <a:cs typeface="Segoe UI"/>
              </a:rPr>
              <a:t>?</a:t>
            </a:r>
          </a:p>
          <a:p>
            <a:endParaRPr lang="en-US"/>
          </a:p>
          <a:p>
            <a:pPr marL="0" lvl="0" indent="0">
              <a:buFont typeface="Arial" panose="020B0604020202020204" pitchFamily="34" charset="0"/>
              <a:buNone/>
            </a:pPr>
            <a:r>
              <a:rPr lang="en-US" sz="850">
                <a:latin typeface="Segoe UI"/>
                <a:cs typeface="Segoe UI"/>
              </a:rPr>
              <a:t>You should consider and answer the following questions in relation to implementing Role-based security in Finance and Operations applications:</a:t>
            </a:r>
          </a:p>
          <a:p>
            <a:pPr marL="171450" indent="-171450">
              <a:buFont typeface="Arial" panose="020B0604020202020204" pitchFamily="34" charset="0"/>
              <a:buChar char="•"/>
              <a:defRPr/>
            </a:pPr>
            <a:r>
              <a:rPr lang="en-US" sz="800">
                <a:solidFill>
                  <a:schemeClr val="tx1"/>
                </a:solidFill>
                <a:latin typeface="Segoe UI"/>
                <a:ea typeface="+mn-lt"/>
                <a:cs typeface="Segoe UI"/>
              </a:rPr>
              <a:t>What is the overall authentication strategy for the solution?</a:t>
            </a:r>
            <a:r>
              <a:rPr lang="en-US" sz="800">
                <a:latin typeface="Segoe UI"/>
                <a:ea typeface="+mn-lt"/>
                <a:cs typeface="Segoe UI"/>
              </a:rPr>
              <a:t>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solidFill>
                  <a:schemeClr val="tx1"/>
                </a:solidFill>
                <a:latin typeface="Segoe UI"/>
                <a:ea typeface="+mn-lt"/>
                <a:cs typeface="Segoe UI"/>
              </a:rPr>
              <a:t>Are all required Domains synced to AAD?</a:t>
            </a:r>
            <a:r>
              <a:rPr lang="en-US" sz="800">
                <a:latin typeface="Segoe UI"/>
                <a:ea typeface="+mn-lt"/>
                <a:cs typeface="Segoe UI"/>
              </a:rPr>
              <a:t> </a:t>
            </a:r>
            <a:endParaRPr lang="en-US" sz="800">
              <a:solidFill>
                <a:schemeClr val="tx1"/>
              </a:solidFill>
              <a:ea typeface="+mn-lt"/>
              <a:cs typeface="Segoe UI"/>
            </a:endParaRPr>
          </a:p>
          <a:p>
            <a:pPr marL="171450" indent="-171450">
              <a:buFont typeface="Arial" panose="020B0604020202020204" pitchFamily="34" charset="0"/>
              <a:buChar char="•"/>
              <a:defRPr/>
            </a:pPr>
            <a:r>
              <a:rPr lang="en-US" sz="800" b="0" i="0" u="none" strike="noStrike">
                <a:solidFill>
                  <a:srgbClr val="000000"/>
                </a:solidFill>
                <a:effectLst/>
                <a:latin typeface="Segoe UI"/>
                <a:cs typeface="Segoe UI"/>
              </a:rPr>
              <a:t>Are you considering multi-tenant &amp; Cross Tenant Access?</a:t>
            </a:r>
            <a:r>
              <a:rPr lang="en-US" sz="800">
                <a:latin typeface="Segoe UI"/>
                <a:cs typeface="Segoe UI"/>
              </a:rPr>
              <a:t> </a:t>
            </a:r>
            <a:endParaRPr lang="en-US" sz="800">
              <a:cs typeface="Segoe UI"/>
            </a:endParaRPr>
          </a:p>
          <a:p>
            <a:pPr marL="171450" indent="-171450">
              <a:buFont typeface="Arial,Sans-Serif" panose="020B0604020202020204" pitchFamily="34" charset="0"/>
              <a:buChar char="•"/>
              <a:defRPr/>
            </a:pPr>
            <a:r>
              <a:rPr lang="en-US" sz="850" i="0" u="none" strike="noStrike">
                <a:effectLst/>
                <a:latin typeface="Segoe UI"/>
                <a:cs typeface="Segoe UI"/>
              </a:rPr>
              <a:t>Are </a:t>
            </a:r>
            <a:r>
              <a:rPr lang="en-US" sz="850">
                <a:latin typeface="Segoe UI"/>
                <a:cs typeface="Segoe UI"/>
              </a:rPr>
              <a:t>you using alternate authentication provider? </a:t>
            </a:r>
          </a:p>
          <a:p>
            <a:pPr marL="171450" indent="-171450">
              <a:buFont typeface="Arial,Sans-Serif" panose="020B0604020202020204" pitchFamily="34" charset="0"/>
              <a:buChar char="•"/>
              <a:defRPr/>
            </a:pPr>
            <a:r>
              <a:rPr lang="en-US" sz="850">
                <a:latin typeface="Segoe UI"/>
                <a:cs typeface="Segoe UI"/>
              </a:rPr>
              <a:t>Are there requirements for limiting access to the application? </a:t>
            </a:r>
            <a:r>
              <a:rPr lang="en-US" sz="800">
                <a:solidFill>
                  <a:srgbClr val="000000"/>
                </a:solidFill>
                <a:latin typeface="Segoe UI"/>
                <a:cs typeface="Segoe UI"/>
              </a:rPr>
              <a:t>Are </a:t>
            </a:r>
            <a:r>
              <a:rPr lang="en-US" sz="800" i="0" u="none" strike="noStrike">
                <a:solidFill>
                  <a:srgbClr val="000000"/>
                </a:solidFill>
                <a:effectLst/>
                <a:latin typeface="Segoe UI"/>
                <a:cs typeface="Segoe UI"/>
              </a:rPr>
              <a:t>there requirements for multi-factor authentication (MFA)?</a:t>
            </a:r>
            <a:r>
              <a:rPr lang="en-US" sz="800">
                <a:latin typeface="Segoe UI"/>
                <a:cs typeface="Segoe UI"/>
              </a:rPr>
              <a:t> </a:t>
            </a:r>
            <a:endParaRPr lang="en-US"/>
          </a:p>
          <a:p>
            <a:pPr marL="0" lvl="0" indent="0">
              <a:buFont typeface="Arial" panose="020B0604020202020204" pitchFamily="34" charset="0"/>
              <a:buNone/>
            </a:pPr>
            <a:endParaRPr lang="en-US"/>
          </a:p>
          <a:p>
            <a:r>
              <a:rPr lang="pt-PT" sz="850">
                <a:latin typeface="Segoe UI"/>
                <a:cs typeface="Segoe UI"/>
              </a:rPr>
              <a:t>=========================</a:t>
            </a:r>
          </a:p>
          <a:p>
            <a:r>
              <a:rPr lang="pt-PT" sz="850" b="1" err="1">
                <a:latin typeface="Segoe UI"/>
                <a:cs typeface="Segoe UI"/>
              </a:rPr>
              <a:t>What</a:t>
            </a:r>
            <a:r>
              <a:rPr lang="pt-PT" sz="850" b="1">
                <a:latin typeface="Segoe UI"/>
                <a:cs typeface="Segoe UI"/>
              </a:rPr>
              <a:t> </a:t>
            </a:r>
            <a:r>
              <a:rPr lang="pt-PT" sz="850" b="1" err="1">
                <a:latin typeface="Segoe UI"/>
                <a:cs typeface="Segoe UI"/>
              </a:rPr>
              <a:t>we’ll</a:t>
            </a:r>
            <a:r>
              <a:rPr lang="pt-PT" sz="850" b="1">
                <a:latin typeface="Segoe UI"/>
                <a:cs typeface="Segoe UI"/>
              </a:rPr>
              <a:t> do </a:t>
            </a:r>
            <a:r>
              <a:rPr lang="pt-PT" sz="850" b="1" err="1">
                <a:latin typeface="Segoe UI"/>
                <a:cs typeface="Segoe UI"/>
              </a:rPr>
              <a:t>with</a:t>
            </a:r>
            <a:r>
              <a:rPr lang="pt-PT" sz="850" b="1">
                <a:latin typeface="Segoe UI"/>
                <a:cs typeface="Segoe UI"/>
              </a:rPr>
              <a:t> </a:t>
            </a:r>
            <a:r>
              <a:rPr lang="pt-PT" sz="850" b="1" err="1">
                <a:latin typeface="Segoe UI"/>
                <a:cs typeface="Segoe UI"/>
              </a:rPr>
              <a:t>this</a:t>
            </a:r>
            <a:r>
              <a:rPr lang="pt-PT" sz="850" b="1">
                <a:latin typeface="Segoe UI"/>
                <a:cs typeface="Segoe UI"/>
              </a:rPr>
              <a:t> </a:t>
            </a:r>
            <a:r>
              <a:rPr lang="pt-PT" sz="850" b="1" err="1">
                <a:latin typeface="Segoe UI"/>
                <a:cs typeface="Segoe UI"/>
              </a:rPr>
              <a:t>information</a:t>
            </a:r>
            <a:r>
              <a:rPr lang="pt-PT" sz="850" b="1">
                <a:latin typeface="Segoe UI"/>
                <a:cs typeface="Segoe UI"/>
              </a:rPr>
              <a:t>?</a:t>
            </a:r>
            <a:endParaRPr lang="en-US" sz="850">
              <a:latin typeface="Segoe UI"/>
              <a:cs typeface="Segoe UI"/>
            </a:endParaRP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850">
                <a:latin typeface="Segoe UI"/>
                <a:cs typeface="Segoe UI"/>
              </a:rPr>
              <a:t>Provide recommendations and information on additional resources.</a:t>
            </a: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r>
              <a:rPr lang="en-US" sz="850" noProof="0">
                <a:latin typeface="Segoe UI"/>
                <a:cs typeface="Segoe UI"/>
              </a:rPr>
              <a:t>=========================</a:t>
            </a:r>
          </a:p>
          <a:p>
            <a:pPr marL="0" indent="0">
              <a:buFont typeface="Arial" panose="020B0604020202020204" pitchFamily="34" charset="0"/>
              <a:buNone/>
            </a:pPr>
            <a:r>
              <a:rPr lang="en-US" sz="850" b="1" noProof="0">
                <a:latin typeface="Segoe UI"/>
                <a:cs typeface="Segoe UI"/>
              </a:rPr>
              <a:t>Resources:</a:t>
            </a:r>
          </a:p>
          <a:p>
            <a:pPr marL="171450" indent="-171450">
              <a:buFont typeface="Arial" panose="020B0604020202020204" pitchFamily="34" charset="0"/>
              <a:buChar char="•"/>
            </a:pPr>
            <a:r>
              <a:rPr lang="en-US" sz="850" noProof="0">
                <a:latin typeface="Segoe UI"/>
                <a:cs typeface="Segoe UI"/>
              </a:rPr>
              <a:t>CE: Control user access to environments (https://docs.microsoft.com/power-platform/admin/control-user-access)</a:t>
            </a:r>
          </a:p>
          <a:p>
            <a:pPr marL="171450" indent="-171450">
              <a:buFont typeface="Arial" panose="020B0604020202020204" pitchFamily="34" charset="0"/>
              <a:buChar char="•"/>
            </a:pPr>
            <a:r>
              <a:rPr lang="en-US" sz="850" noProof="0">
                <a:latin typeface="Segoe UI"/>
                <a:cs typeface="Segoe UI"/>
              </a:rPr>
              <a:t>CE: Back up and restore environments (https://docs.microsoft.com/power-platform/admin/backup-restore-environments)</a:t>
            </a:r>
          </a:p>
          <a:p>
            <a:pPr marL="171450" indent="-171450">
              <a:buFont typeface="Arial" panose="020B0604020202020204" pitchFamily="34" charset="0"/>
              <a:buChar char="•"/>
            </a:pPr>
            <a:r>
              <a:rPr lang="en-US" sz="850" noProof="0">
                <a:latin typeface="Segoe UI"/>
                <a:cs typeface="Segoe UI"/>
              </a:rPr>
              <a:t>CE: Export table data to Azure Data Lake Storage Gen2 (https://docs.microsoft.com/powerapps/maker/data-platform/export-to-data-lake)</a:t>
            </a:r>
          </a:p>
          <a:p>
            <a:pPr marL="171450" indent="-171450">
              <a:buFont typeface="Arial" panose="020B0604020202020204" pitchFamily="34" charset="0"/>
              <a:buChar char="•"/>
            </a:pPr>
            <a:r>
              <a:rPr lang="en-US" sz="850" noProof="0">
                <a:latin typeface="Segoe UI"/>
                <a:cs typeface="Segoe UI"/>
              </a:rPr>
              <a:t>Conditional Access (https://docs.microsoft.com/azure/active-directory/conditional-access/overview)</a:t>
            </a:r>
          </a:p>
          <a:p>
            <a:pPr marL="0" indent="0">
              <a:buFont typeface="Arial" panose="020B0604020202020204" pitchFamily="34" charset="0"/>
              <a:buNone/>
            </a:pPr>
            <a:endParaRPr lang="en-US" b="1" noProof="0"/>
          </a:p>
        </p:txBody>
      </p:sp>
      <p:sp>
        <p:nvSpPr>
          <p:cNvPr id="4" name="Slide Number Placeholder 3"/>
          <p:cNvSpPr>
            <a:spLocks noGrp="1"/>
          </p:cNvSpPr>
          <p:nvPr>
            <p:ph type="sldNum" sz="quarter" idx="5"/>
          </p:nvPr>
        </p:nvSpPr>
        <p:spPr/>
        <p:txBody>
          <a:bodyPr/>
          <a:lstStyle/>
          <a:p>
            <a:fld id="{820133BD-6629-D245-9461-799999F1C98F}" type="slidenum">
              <a:rPr lang="en-US" smtClean="0"/>
              <a:t>26</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y are we asking this information?</a:t>
            </a:r>
          </a:p>
          <a:p>
            <a:pPr marL="0" lvl="0" indent="0">
              <a:buFont typeface="Arial" panose="020B0604020202020204" pitchFamily="34" charset="0"/>
              <a:buNone/>
            </a:pPr>
            <a:r>
              <a:rPr lang="en-US"/>
              <a:t>Dynamics 365 capabilities extend beyond Finance and Operations and Customer Engagement apps. Data security requirements do also, so it is important to understand your plan for using additional applications securely.</a:t>
            </a:r>
          </a:p>
          <a:p>
            <a:pPr marL="0" lvl="0" indent="0">
              <a:buFont typeface="Arial" panose="020B0604020202020204" pitchFamily="34" charset="0"/>
              <a:buNone/>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p>
          <a:p>
            <a:endParaRPr lang="en-US"/>
          </a:p>
          <a:p>
            <a:pPr marL="0" lvl="0" indent="0">
              <a:buFont typeface="Arial" panose="020B0604020202020204" pitchFamily="34" charset="0"/>
              <a:buNone/>
            </a:pPr>
            <a:r>
              <a:rPr lang="en-US"/>
              <a:t>You should consider and answer the following questions in relation to integration with other application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solidFill>
                  <a:schemeClr val="tx1"/>
                </a:solidFill>
              </a:rPr>
              <a:t>If virtual entity is planned to be used, have you considered security model around them?</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solidFill>
                  <a:schemeClr val="tx1"/>
                </a:solidFill>
              </a:rPr>
              <a:t>If applicable, how are you planning to control security in Export to Data Lake (Azure Synapse Link) and Power BI?</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solidFill>
                  <a:schemeClr val="tx1"/>
                </a:solidFill>
              </a:rPr>
              <a:t>In case you are leveraging other Power Platform capabilities such as Flow and PowerApps, what are your security requirements and design?​</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solidFill>
                  <a:schemeClr val="tx1"/>
                </a:solidFill>
              </a:rPr>
              <a:t>Does your security model hold dependencies on ISV or third-party solutions?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a:solidFill>
                  <a:schemeClr val="tx1"/>
                </a:solidFill>
              </a:rPr>
              <a:t>In terms of automation and data integration, how do you plan to secure the connections? </a:t>
            </a:r>
            <a:br>
              <a:rPr lang="en-US" sz="900">
                <a:solidFill>
                  <a:schemeClr val="tx1"/>
                </a:solidFill>
              </a:rPr>
            </a:br>
            <a:r>
              <a:rPr lang="en-US" sz="800" i="1">
                <a:solidFill>
                  <a:schemeClr val="tx1"/>
                </a:solidFill>
              </a:rPr>
              <a:t>E.g., server-to-server (S2S) authentication, non-interactive user accounts, data loss prevention (DLP) policies, tenant isolation, etc.</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solidFill>
                  <a:schemeClr val="tx1"/>
                </a:solidFill>
              </a:rPr>
              <a:t>If your architecture requires to integrate with other Microsoft solutions, how do you plan to secure these integrations?</a:t>
            </a:r>
            <a:br>
              <a:rPr lang="en-US" sz="800">
                <a:solidFill>
                  <a:schemeClr val="tx1"/>
                </a:solidFill>
              </a:rPr>
            </a:br>
            <a:r>
              <a:rPr lang="en-US" sz="800" i="1">
                <a:solidFill>
                  <a:schemeClr val="tx1"/>
                </a:solidFill>
              </a:rPr>
              <a:t>E.g., Teams, Power BI, SharePoint, Exchange, Azure Data Lake, etc.</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solidFill>
                  <a:schemeClr val="tx1"/>
                </a:solidFill>
              </a:rPr>
              <a:t>If applicable, how do you plan to secure your Power Apps Portals in terms of user authentication and data protection?</a:t>
            </a:r>
            <a:endParaRPr lang="en-US" sz="800" i="1">
              <a:solidFill>
                <a:schemeClr val="tx1"/>
              </a:solidFill>
            </a:endParaRPr>
          </a:p>
          <a:p>
            <a:pPr marL="0" lvl="0" indent="0">
              <a:buFont typeface="Arial" panose="020B0604020202020204" pitchFamily="34" charset="0"/>
              <a:buNone/>
            </a:pPr>
            <a:endParaRPr lang="en-US"/>
          </a:p>
          <a:p>
            <a:r>
              <a:rPr lang="pt-PT"/>
              <a:t>=========================</a:t>
            </a:r>
          </a:p>
          <a:p>
            <a:r>
              <a:rPr lang="pt-PT" b="1"/>
              <a:t>What we’ll do with this information?</a:t>
            </a:r>
            <a:endParaRPr lang="en-US"/>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a:t>Provide recommendations and information on additional resources.</a:t>
            </a: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a:p>
            <a:r>
              <a:rPr lang="en-US" noProof="0"/>
              <a:t>=========================</a:t>
            </a:r>
          </a:p>
          <a:p>
            <a:pPr marL="0" indent="0">
              <a:buFont typeface="Arial" panose="020B0604020202020204" pitchFamily="34" charset="0"/>
              <a:buNone/>
            </a:pPr>
            <a:r>
              <a:rPr lang="en-US" b="1" noProof="0"/>
              <a:t>Resources:</a:t>
            </a:r>
          </a:p>
          <a:p>
            <a:pPr marL="171450" indent="-171450">
              <a:buFont typeface="Arial" panose="020B0604020202020204" pitchFamily="34" charset="0"/>
              <a:buChar char="•"/>
            </a:pPr>
            <a:r>
              <a:rPr lang="en-US" noProof="0"/>
              <a:t>Data loss prevention (DLP) policies (https://docs.microsoft.com/power-platform/admin/prevent-data-loss)</a:t>
            </a:r>
          </a:p>
          <a:p>
            <a:pPr marL="171450" indent="-171450">
              <a:buFont typeface="Arial" panose="020B0604020202020204" pitchFamily="34" charset="0"/>
              <a:buChar char="•"/>
            </a:pPr>
            <a:r>
              <a:rPr lang="en-US" noProof="0"/>
              <a:t>Application user (https://docs.microsoft.com/power-platform/admin/create-users-assign-online-security-roles#create-an-application-user)</a:t>
            </a:r>
          </a:p>
          <a:p>
            <a:pPr marL="0" indent="0">
              <a:buFont typeface="Arial" panose="020B0604020202020204" pitchFamily="34" charset="0"/>
              <a:buNone/>
            </a:pPr>
            <a:endParaRPr lang="en-US" b="1" noProof="0"/>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7</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Aft>
                <a:spcPts val="0"/>
              </a:spcAft>
            </a:pPr>
            <a:r>
              <a:rPr lang="pt-PT" sz="850">
                <a:latin typeface="Segoe UI"/>
                <a:cs typeface="Segoe UI"/>
              </a:rPr>
              <a:t>=========================</a:t>
            </a:r>
            <a:endParaRPr lang="en-US" sz="850">
              <a:latin typeface="Segoe UI"/>
              <a:cs typeface="Segoe UI"/>
            </a:endParaRPr>
          </a:p>
          <a:p>
            <a:r>
              <a:rPr lang="pt-PT" sz="850" b="1" err="1">
                <a:latin typeface="Segoe UI"/>
                <a:cs typeface="Segoe UI"/>
              </a:rPr>
              <a:t>Why</a:t>
            </a:r>
            <a:r>
              <a:rPr lang="pt-PT" sz="850" b="1">
                <a:latin typeface="Segoe UI"/>
                <a:cs typeface="Segoe UI"/>
              </a:rPr>
              <a:t> are </a:t>
            </a:r>
            <a:r>
              <a:rPr lang="pt-PT" sz="850" b="1" err="1">
                <a:latin typeface="Segoe UI"/>
                <a:cs typeface="Segoe UI"/>
              </a:rPr>
              <a:t>we</a:t>
            </a:r>
            <a:r>
              <a:rPr lang="pt-PT" sz="850" b="1">
                <a:latin typeface="Segoe UI"/>
                <a:cs typeface="Segoe UI"/>
              </a:rPr>
              <a:t> </a:t>
            </a:r>
            <a:r>
              <a:rPr lang="pt-PT" sz="850" b="1" err="1">
                <a:latin typeface="Segoe UI"/>
                <a:cs typeface="Segoe UI"/>
              </a:rPr>
              <a:t>asking</a:t>
            </a:r>
            <a:r>
              <a:rPr lang="pt-PT" sz="850" b="1">
                <a:latin typeface="Segoe UI"/>
                <a:cs typeface="Segoe UI"/>
              </a:rPr>
              <a:t> </a:t>
            </a:r>
            <a:r>
              <a:rPr lang="pt-PT" sz="850" b="1" err="1">
                <a:latin typeface="Segoe UI"/>
                <a:cs typeface="Segoe UI"/>
              </a:rPr>
              <a:t>this</a:t>
            </a:r>
            <a:r>
              <a:rPr lang="pt-PT" sz="850" b="1">
                <a:latin typeface="Segoe UI"/>
                <a:cs typeface="Segoe UI"/>
              </a:rPr>
              <a:t> </a:t>
            </a:r>
            <a:r>
              <a:rPr lang="pt-PT" sz="850" b="1" err="1">
                <a:latin typeface="Segoe UI"/>
                <a:cs typeface="Segoe UI"/>
              </a:rPr>
              <a:t>information</a:t>
            </a:r>
            <a:r>
              <a:rPr lang="pt-PT" sz="850" b="1">
                <a:latin typeface="Segoe UI"/>
                <a:cs typeface="Segoe UI"/>
              </a:rPr>
              <a:t>?</a:t>
            </a:r>
            <a:endParaRPr lang="en-US" sz="850">
              <a:latin typeface="Segoe UI"/>
              <a:cs typeface="Segoe UI"/>
            </a:endParaRPr>
          </a:p>
          <a:p>
            <a:r>
              <a:rPr lang="en-US" sz="800">
                <a:latin typeface="Segoe UI"/>
                <a:cs typeface="Segoe UI"/>
              </a:rPr>
              <a:t>Having a plan to test and validate security is crucial to successfully meeting security requirement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a:p>
            <a:pPr>
              <a:lnSpc>
                <a:spcPct val="100000"/>
              </a:lnSpc>
              <a:spcAft>
                <a:spcPts val="0"/>
              </a:spcAft>
            </a:pPr>
            <a:r>
              <a:rPr lang="pt-PT" sz="850">
                <a:latin typeface="Segoe UI"/>
                <a:cs typeface="Segoe UI"/>
              </a:rPr>
              <a:t>=========================</a:t>
            </a:r>
            <a:endParaRPr lang="en-US" sz="850">
              <a:latin typeface="Segoe UI"/>
              <a:cs typeface="Segoe UI"/>
            </a:endParaRPr>
          </a:p>
          <a:p>
            <a:r>
              <a:rPr lang="pt-PT" sz="850" b="1" err="1">
                <a:latin typeface="Segoe UI"/>
                <a:cs typeface="Segoe UI"/>
              </a:rPr>
              <a:t>What</a:t>
            </a:r>
            <a:r>
              <a:rPr lang="pt-PT" sz="850" b="1">
                <a:latin typeface="Segoe UI"/>
                <a:cs typeface="Segoe UI"/>
              </a:rPr>
              <a:t> to </a:t>
            </a:r>
            <a:r>
              <a:rPr lang="pt-PT" sz="850" b="1" err="1">
                <a:latin typeface="Segoe UI"/>
                <a:cs typeface="Segoe UI"/>
              </a:rPr>
              <a:t>include</a:t>
            </a:r>
            <a:r>
              <a:rPr lang="pt-PT" sz="850" b="1">
                <a:latin typeface="Segoe UI"/>
                <a:cs typeface="Segoe UI"/>
              </a:rPr>
              <a:t>?</a:t>
            </a:r>
            <a:endParaRPr lang="en-US" sz="850">
              <a:latin typeface="Segoe UI"/>
              <a:cs typeface="Segoe UI"/>
            </a:endParaRPr>
          </a:p>
          <a:p>
            <a:r>
              <a:rPr lang="en-US" sz="800">
                <a:latin typeface="Segoe UI"/>
                <a:cs typeface="Segoe UI"/>
              </a:rPr>
              <a:t>The format for your design may include different components such as word documents that outline vendor invoice processes, Visio diagrams that outline the flow, a Power Point with details of the design, screenshots of actual system configurations, and so on. You can provide links to existing documents or insert files into the slide. Use additional slides to outline the details if required.</a:t>
            </a:r>
          </a:p>
          <a:p>
            <a:endParaRPr lang="en-US"/>
          </a:p>
          <a:p>
            <a:r>
              <a:rPr lang="en-US" sz="850">
                <a:latin typeface="Segoe UI"/>
                <a:cs typeface="Segoe UI"/>
              </a:rPr>
              <a:t>You should consider and include details about the following in your design.</a:t>
            </a:r>
          </a:p>
          <a:p>
            <a:pPr marL="171450" indent="-171450">
              <a:buFont typeface="Arial,Sans-Serif"/>
              <a:buChar char="•"/>
            </a:pPr>
            <a:r>
              <a:rPr lang="en-US" sz="800">
                <a:latin typeface="Segoe UI"/>
                <a:cs typeface="Segoe UI"/>
              </a:rPr>
              <a:t>What is the testing strategy for security?</a:t>
            </a:r>
          </a:p>
          <a:p>
            <a:pPr marL="171450" indent="-171450">
              <a:buFont typeface="Arial,Sans-Serif"/>
              <a:buChar char="•"/>
            </a:pPr>
            <a:r>
              <a:rPr lang="en-US" sz="800">
                <a:latin typeface="Segoe UI"/>
                <a:cs typeface="Segoe UI"/>
              </a:rPr>
              <a:t>How are security workstream tasks integrated into the project plan?</a:t>
            </a:r>
          </a:p>
          <a:p>
            <a:pPr marL="171450" indent="-171450">
              <a:buFont typeface="Arial,Sans-Serif"/>
              <a:buChar char="•"/>
            </a:pPr>
            <a:r>
              <a:rPr lang="en-US" sz="850">
                <a:latin typeface="Segoe UI"/>
                <a:cs typeface="Segoe UI"/>
              </a:rPr>
              <a:t>Do you plan to have security roles implemented before, and fully tested and validated in, UAT? What is your progress toward these objectives?</a:t>
            </a:r>
            <a:endParaRPr lang="en-US"/>
          </a:p>
          <a:p>
            <a:pPr marL="171450" indent="-171450">
              <a:buFont typeface="Arial,Sans-Serif"/>
              <a:buChar char="•"/>
            </a:pPr>
            <a:r>
              <a:rPr lang="en-US" sz="800">
                <a:latin typeface="Segoe UI"/>
                <a:cs typeface="Segoe UI"/>
              </a:rPr>
              <a:t>How will you ensure security task completion dates do not sli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noProof="0"/>
          </a:p>
          <a:p>
            <a:pPr marL="0" marR="0" lvl="0" indent="0" algn="l" defTabSz="914400" rtl="0" eaLnBrk="1" fontAlgn="auto" latinLnBrk="0" hangingPunct="1">
              <a:lnSpc>
                <a:spcPct val="100000"/>
              </a:lnSpc>
              <a:spcBef>
                <a:spcPts val="0"/>
              </a:spcBef>
              <a:spcAft>
                <a:spcPts val="0"/>
              </a:spcAft>
              <a:buClrTx/>
              <a:buSzTx/>
              <a:buFontTx/>
              <a:buNone/>
              <a:tabLst/>
              <a:defRPr/>
            </a:pPr>
            <a:r>
              <a:rPr lang="en-US" sz="850" noProof="0">
                <a:latin typeface="Segoe UI"/>
                <a:cs typeface="Segoe UI"/>
              </a:rPr>
              <a:t>=========================</a:t>
            </a:r>
          </a:p>
          <a:p>
            <a:r>
              <a:rPr lang="en-US" sz="850" b="1" noProof="0">
                <a:latin typeface="Segoe UI"/>
                <a:cs typeface="Segoe UI"/>
              </a:rPr>
              <a:t>Resour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50" noProof="0">
                <a:latin typeface="Segoe UI"/>
                <a:cs typeface="Segoe UI"/>
              </a:rPr>
              <a:t>Penetration Testing Rules of Engagement (https://www.microsoft.com/msrc/pentest-rules-of-eng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50" noProof="0">
                <a:latin typeface="Segoe UI"/>
                <a:cs typeface="Segoe UI"/>
              </a:rPr>
              <a:t>Report security issues (https://msrc.microsoft.com/)</a:t>
            </a:r>
          </a:p>
        </p:txBody>
      </p:sp>
      <p:sp>
        <p:nvSpPr>
          <p:cNvPr id="4" name="Slide Number Placeholder 3"/>
          <p:cNvSpPr>
            <a:spLocks noGrp="1"/>
          </p:cNvSpPr>
          <p:nvPr>
            <p:ph type="sldNum" sz="quarter" idx="5"/>
          </p:nvPr>
        </p:nvSpPr>
        <p:spPr/>
        <p:txBody>
          <a:bodyPr/>
          <a:lstStyle/>
          <a:p>
            <a:fld id="{820133BD-6629-D245-9461-799999F1C98F}" type="slidenum">
              <a:rPr lang="en-US" smtClean="0"/>
              <a:t>29</a:t>
            </a:fld>
            <a:endParaRPr lang="en-US"/>
          </a:p>
        </p:txBody>
      </p:sp>
    </p:spTree>
    <p:extLst>
      <p:ext uri="{BB962C8B-B14F-4D97-AF65-F5344CB8AC3E}">
        <p14:creationId xmlns:p14="http://schemas.microsoft.com/office/powerpoint/2010/main" val="12598575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Aft>
                <a:spcPts val="0"/>
              </a:spcAft>
            </a:pPr>
            <a:r>
              <a:rPr lang="pt-PT" sz="800">
                <a:latin typeface="Segoe UI"/>
                <a:cs typeface="Segoe UI"/>
              </a:rPr>
              <a:t>=========================</a:t>
            </a:r>
            <a:endParaRPr lang="en-US" sz="800">
              <a:latin typeface="Segoe UI"/>
              <a:cs typeface="Segoe UI"/>
            </a:endParaRPr>
          </a:p>
          <a:p>
            <a:r>
              <a:rPr lang="pt-PT" sz="800" b="1">
                <a:latin typeface="Segoe UI"/>
                <a:cs typeface="Segoe UI"/>
              </a:rPr>
              <a:t>Why are we asking this information?</a:t>
            </a:r>
            <a:endParaRPr lang="en-US" sz="800">
              <a:latin typeface="Segoe UI"/>
              <a:cs typeface="Segoe UI"/>
            </a:endParaRPr>
          </a:p>
          <a:p>
            <a:r>
              <a:rPr lang="en-US" sz="800">
                <a:latin typeface="Segoe UI"/>
                <a:cs typeface="Segoe UI"/>
              </a:rPr>
              <a:t>Here we are looking for information about how security will be managed in the future.</a:t>
            </a:r>
          </a:p>
          <a:p>
            <a:endParaRPr lang="en-US"/>
          </a:p>
          <a:p>
            <a:pPr>
              <a:lnSpc>
                <a:spcPct val="100000"/>
              </a:lnSpc>
              <a:spcAft>
                <a:spcPts val="0"/>
              </a:spcAft>
            </a:pPr>
            <a:r>
              <a:rPr lang="pt-PT" sz="800">
                <a:latin typeface="Segoe UI"/>
                <a:cs typeface="Segoe UI"/>
              </a:rPr>
              <a:t>=========================</a:t>
            </a:r>
            <a:endParaRPr lang="en-US" sz="800">
              <a:latin typeface="Segoe UI"/>
              <a:cs typeface="Segoe UI"/>
            </a:endParaRPr>
          </a:p>
          <a:p>
            <a:r>
              <a:rPr lang="pt-PT" sz="800" b="1">
                <a:latin typeface="Segoe UI"/>
                <a:cs typeface="Segoe UI"/>
              </a:rPr>
              <a:t>What to include?</a:t>
            </a:r>
            <a:endParaRPr lang="en-US" sz="800">
              <a:latin typeface="Segoe UI"/>
              <a:cs typeface="Segoe UI"/>
            </a:endParaRPr>
          </a:p>
          <a:p>
            <a:r>
              <a:rPr lang="en-US" sz="800">
                <a:latin typeface="Segoe UI"/>
                <a:cs typeface="Segoe UI"/>
              </a:rPr>
              <a:t>You should consider and include details about the following:</a:t>
            </a:r>
          </a:p>
          <a:p>
            <a:pPr marL="171450" indent="-171450">
              <a:buFont typeface="Arial" panose="020B0604020202020204" pitchFamily="34" charset="0"/>
              <a:buChar char="•"/>
            </a:pPr>
            <a:r>
              <a:rPr lang="en-US" sz="800">
                <a:solidFill>
                  <a:schemeClr val="tx1"/>
                </a:solidFill>
              </a:rPr>
              <a:t>How are you considering Integration Identity and Service Accounts?  </a:t>
            </a:r>
          </a:p>
          <a:p>
            <a:pPr marL="171450" indent="-171450">
              <a:buFont typeface="Arial" panose="020B0604020202020204" pitchFamily="34" charset="0"/>
              <a:buChar char="•"/>
            </a:pPr>
            <a:r>
              <a:rPr lang="en-US" sz="800">
                <a:solidFill>
                  <a:schemeClr val="tx1"/>
                </a:solidFill>
              </a:rPr>
              <a:t>How about Administrator accounts?</a:t>
            </a:r>
          </a:p>
          <a:p>
            <a:pPr marL="171450" marR="0" lvl="0" indent="-171450" algn="l" defTabSz="914367" rtl="0" eaLnBrk="1" fontAlgn="auto" latinLnBrk="0" hangingPunct="1">
              <a:lnSpc>
                <a:spcPct val="90000"/>
              </a:lnSpc>
              <a:spcBef>
                <a:spcPts val="0"/>
              </a:spcBef>
              <a:spcAft>
                <a:spcPts val="333"/>
              </a:spcAft>
              <a:buClrTx/>
              <a:buSzTx/>
              <a:buFont typeface="Arial,Sans-Serif"/>
              <a:buChar char="•"/>
              <a:tabLst/>
              <a:defRPr/>
            </a:pPr>
            <a:r>
              <a:rPr lang="en-US" sz="800">
                <a:solidFill>
                  <a:schemeClr val="tx1"/>
                </a:solidFill>
              </a:rPr>
              <a:t>Are you managing all users within your company centrally, at the organization level?  Or do you have some administrative activities distributed across departments or locations?</a:t>
            </a:r>
          </a:p>
          <a:p>
            <a:pPr marL="171450" marR="0" lvl="0" indent="-171450" algn="l" defTabSz="914367" rtl="0" eaLnBrk="1" fontAlgn="auto" latinLnBrk="0" hangingPunct="1">
              <a:lnSpc>
                <a:spcPct val="90000"/>
              </a:lnSpc>
              <a:spcBef>
                <a:spcPts val="0"/>
              </a:spcBef>
              <a:spcAft>
                <a:spcPts val="333"/>
              </a:spcAft>
              <a:buClrTx/>
              <a:buSzTx/>
              <a:buFont typeface="Arial,Sans-Serif"/>
              <a:buChar char="•"/>
              <a:tabLst/>
              <a:defRPr/>
            </a:pPr>
            <a:r>
              <a:rPr lang="en-US" sz="800">
                <a:solidFill>
                  <a:schemeClr val="tx1"/>
                </a:solidFill>
              </a:rPr>
              <a:t>Do you plan to use AAD Groups, organizational hierarchy, automatic role assignment, or segregation of duties enforcement? What is your progress toward these objectives?</a:t>
            </a:r>
          </a:p>
          <a:p>
            <a:pPr marL="171450" indent="-171450">
              <a:buFont typeface="Arial,Sans-Serif"/>
              <a:buChar char="•"/>
            </a:pPr>
            <a:endParaRPr lang="en-US" sz="800">
              <a:cs typeface="Segoe UI"/>
            </a:endParaRPr>
          </a:p>
          <a:p>
            <a:endParaRPr lang="en-US"/>
          </a:p>
          <a:p>
            <a:r>
              <a:rPr lang="pt-PT" sz="800">
                <a:latin typeface="Segoe UI"/>
                <a:cs typeface="Segoe UI"/>
              </a:rPr>
              <a:t>=========================</a:t>
            </a:r>
            <a:endParaRPr lang="en-US" sz="800">
              <a:latin typeface="Segoe UI"/>
              <a:cs typeface="Segoe UI"/>
            </a:endParaRPr>
          </a:p>
          <a:p>
            <a:r>
              <a:rPr lang="pt-PT" sz="800" b="1">
                <a:latin typeface="Segoe UI"/>
                <a:cs typeface="Segoe UI"/>
              </a:rPr>
              <a:t>What we’ll do with this information?</a:t>
            </a:r>
            <a:endParaRPr lang="en-US" sz="800">
              <a:latin typeface="Segoe UI"/>
              <a:cs typeface="Segoe UI"/>
            </a:endParaRP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700"/>
              <a:t>Provide recommendations and information on additional resources.</a:t>
            </a: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700"/>
          </a:p>
          <a:p>
            <a:r>
              <a:rPr lang="en-US" sz="700" noProof="0"/>
              <a:t>=========================</a:t>
            </a:r>
          </a:p>
          <a:p>
            <a:pPr marL="0" indent="0">
              <a:buFont typeface="Arial" panose="020B0604020202020204" pitchFamily="34" charset="0"/>
              <a:buNone/>
            </a:pPr>
            <a:r>
              <a:rPr lang="en-US" sz="700" b="1" noProof="0"/>
              <a:t>Resources:</a:t>
            </a: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700">
              <a:cs typeface="Segoe UI"/>
            </a:endParaRPr>
          </a:p>
          <a:p>
            <a:endParaRPr lang="en-US" sz="800">
              <a:cs typeface="Segoe UI"/>
            </a:endParaRPr>
          </a:p>
        </p:txBody>
      </p:sp>
      <p:sp>
        <p:nvSpPr>
          <p:cNvPr id="4" name="Slide Number Placeholder 3"/>
          <p:cNvSpPr>
            <a:spLocks noGrp="1"/>
          </p:cNvSpPr>
          <p:nvPr>
            <p:ph type="sldNum" sz="quarter" idx="5"/>
          </p:nvPr>
        </p:nvSpPr>
        <p:spPr/>
        <p:txBody>
          <a:bodyPr/>
          <a:lstStyle/>
          <a:p>
            <a:fld id="{820133BD-6629-D245-9461-799999F1C98F}" type="slidenum">
              <a:rPr lang="en-US" smtClean="0"/>
              <a:t>31</a:t>
            </a:fld>
            <a:endParaRPr lang="en-US"/>
          </a:p>
        </p:txBody>
      </p:sp>
    </p:spTree>
    <p:extLst>
      <p:ext uri="{BB962C8B-B14F-4D97-AF65-F5344CB8AC3E}">
        <p14:creationId xmlns:p14="http://schemas.microsoft.com/office/powerpoint/2010/main" val="12598575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Aft>
                <a:spcPts val="0"/>
              </a:spcAft>
            </a:pPr>
            <a:r>
              <a:rPr lang="pt-PT" sz="800">
                <a:latin typeface="Segoe UI"/>
                <a:cs typeface="Segoe UI"/>
              </a:rPr>
              <a:t>=========================</a:t>
            </a:r>
            <a:endParaRPr lang="en-US" sz="800">
              <a:latin typeface="Segoe UI"/>
              <a:cs typeface="Segoe UI"/>
            </a:endParaRPr>
          </a:p>
          <a:p>
            <a:r>
              <a:rPr lang="pt-PT" sz="800" b="1">
                <a:latin typeface="Segoe UI"/>
                <a:cs typeface="Segoe UI"/>
              </a:rPr>
              <a:t>Why are we asking this information?</a:t>
            </a:r>
            <a:endParaRPr lang="en-US" sz="800">
              <a:latin typeface="Segoe UI"/>
              <a:cs typeface="Segoe 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noProof="0"/>
              <a:t>Understand your monitoring and audit requirements and validate that they can be met by the current monitoring and auditing capabilities</a:t>
            </a:r>
          </a:p>
          <a:p>
            <a:endParaRPr lang="en-US" sz="800"/>
          </a:p>
          <a:p>
            <a:pPr>
              <a:lnSpc>
                <a:spcPct val="100000"/>
              </a:lnSpc>
              <a:spcAft>
                <a:spcPts val="0"/>
              </a:spcAft>
            </a:pPr>
            <a:r>
              <a:rPr lang="pt-PT" sz="800">
                <a:latin typeface="Segoe UI"/>
                <a:cs typeface="Segoe UI"/>
              </a:rPr>
              <a:t>=========================</a:t>
            </a:r>
            <a:endParaRPr lang="en-US" sz="800">
              <a:latin typeface="Segoe UI"/>
              <a:cs typeface="Segoe UI"/>
            </a:endParaRPr>
          </a:p>
          <a:p>
            <a:r>
              <a:rPr lang="pt-PT" sz="800" b="1">
                <a:latin typeface="Segoe UI"/>
                <a:cs typeface="Segoe UI"/>
              </a:rPr>
              <a:t>What to include?</a:t>
            </a:r>
            <a:endParaRPr lang="en-US" sz="800">
              <a:latin typeface="Segoe UI"/>
              <a:cs typeface="Segoe UI"/>
            </a:endParaRPr>
          </a:p>
          <a:p>
            <a:r>
              <a:rPr lang="en-US" sz="800">
                <a:latin typeface="Segoe UI"/>
                <a:cs typeface="Segoe UI"/>
              </a:rPr>
              <a:t>You should consider and include details about the following:</a:t>
            </a:r>
          </a:p>
          <a:p>
            <a:pPr marL="171450" indent="-171450">
              <a:buFont typeface="Arial" panose="020B0604020202020204" pitchFamily="34" charset="0"/>
              <a:buChar char="•"/>
            </a:pPr>
            <a:r>
              <a:rPr lang="en-US" sz="800">
                <a:solidFill>
                  <a:schemeClr val="tx1"/>
                </a:solidFill>
              </a:rPr>
              <a:t>Do you have requirements to monitor user access to the application? </a:t>
            </a:r>
          </a:p>
          <a:p>
            <a:pPr marL="171450" indent="-171450">
              <a:buFont typeface="Arial" panose="020B0604020202020204" pitchFamily="34" charset="0"/>
              <a:buChar char="•"/>
            </a:pPr>
            <a:r>
              <a:rPr lang="en-US" sz="800">
                <a:solidFill>
                  <a:schemeClr val="tx1"/>
                </a:solidFill>
              </a:rPr>
              <a:t>What is your plan to regularly check appropriate user permissions? </a:t>
            </a:r>
            <a:endParaRPr lang="en-US" sz="800" i="1">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noProof="0">
                <a:solidFill>
                  <a:schemeClr val="tx1"/>
                </a:solidFill>
              </a:rPr>
              <a:t>How do you plan to prepare for your next security audit?  When will that be?</a:t>
            </a:r>
          </a:p>
          <a:p>
            <a:endParaRPr lang="en-US" sz="800"/>
          </a:p>
          <a:p>
            <a:r>
              <a:rPr lang="pt-PT" sz="800">
                <a:latin typeface="Segoe UI"/>
                <a:cs typeface="Segoe UI"/>
              </a:rPr>
              <a:t>=========================</a:t>
            </a:r>
            <a:endParaRPr lang="en-US" sz="800">
              <a:latin typeface="Segoe UI"/>
              <a:cs typeface="Segoe UI"/>
            </a:endParaRPr>
          </a:p>
          <a:p>
            <a:r>
              <a:rPr lang="pt-PT" sz="800" b="1">
                <a:latin typeface="Segoe UI"/>
                <a:cs typeface="Segoe UI"/>
              </a:rPr>
              <a:t>What we’ll do with this information?</a:t>
            </a:r>
            <a:endParaRPr lang="en-US" sz="800">
              <a:latin typeface="Segoe UI"/>
              <a:cs typeface="Segoe UI"/>
            </a:endParaRP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700"/>
              <a:t>Provide recommendations and information on additional resources.</a:t>
            </a:r>
            <a:endParaRPr lang="en-US" sz="700">
              <a:cs typeface="Segoe UI"/>
            </a:endParaRP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700"/>
          </a:p>
          <a:p>
            <a:r>
              <a:rPr lang="en-US" sz="700" noProof="0"/>
              <a:t>=========================</a:t>
            </a:r>
          </a:p>
          <a:p>
            <a:pPr marL="0" indent="0">
              <a:buFont typeface="Arial" panose="020B0604020202020204" pitchFamily="34" charset="0"/>
              <a:buNone/>
            </a:pPr>
            <a:r>
              <a:rPr lang="en-US" sz="700" b="1" noProof="0"/>
              <a:t>Resour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noProof="0"/>
              <a:t>Dataverse audit (https://docs.microsoft.com/power-platform/admin/audit-data-user-activ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noProof="0"/>
              <a:t>Microsoft 365 audit logs (https://docs.microsoft.com/power-platform/admin/enable-use-comprehensive-audi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Out-of-box security reports - Finance &amp; Operations | Dynamics 365 | Microsoft Docs (https://docs.microsoft.com/en-us/dynamics365/fin-ops-core/dev-itpro/sysadmin/security-repor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Manage access to sensitive data - Finance &amp; Operations | Dynamics 365 | Microsoft Docs (https://docs.microsoft.com/en-us/dynamics365/fin-ops-core/dev-itpro/gdpr/gdpr-auditing-sensitive-data)</a:t>
            </a:r>
            <a:endParaRPr lang="en-US" sz="800">
              <a:cs typeface="Segoe UI"/>
            </a:endParaRPr>
          </a:p>
        </p:txBody>
      </p:sp>
      <p:sp>
        <p:nvSpPr>
          <p:cNvPr id="4" name="Slide Number Placeholder 3"/>
          <p:cNvSpPr>
            <a:spLocks noGrp="1"/>
          </p:cNvSpPr>
          <p:nvPr>
            <p:ph type="sldNum" sz="quarter" idx="5"/>
          </p:nvPr>
        </p:nvSpPr>
        <p:spPr/>
        <p:txBody>
          <a:bodyPr/>
          <a:lstStyle/>
          <a:p>
            <a:fld id="{820133BD-6629-D245-9461-799999F1C98F}" type="slidenum">
              <a:rPr lang="en-US" smtClean="0"/>
              <a:t>32</a:t>
            </a:fld>
            <a:endParaRPr lang="en-US"/>
          </a:p>
        </p:txBody>
      </p:sp>
    </p:spTree>
    <p:extLst>
      <p:ext uri="{BB962C8B-B14F-4D97-AF65-F5344CB8AC3E}">
        <p14:creationId xmlns:p14="http://schemas.microsoft.com/office/powerpoint/2010/main" val="35976997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34</a:t>
            </a:fld>
            <a:endParaRPr lang="en-US"/>
          </a:p>
        </p:txBody>
      </p:sp>
    </p:spTree>
    <p:extLst>
      <p:ext uri="{BB962C8B-B14F-4D97-AF65-F5344CB8AC3E}">
        <p14:creationId xmlns:p14="http://schemas.microsoft.com/office/powerpoint/2010/main" val="16598057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35</a:t>
            </a:fld>
            <a:endParaRPr lang="en-US"/>
          </a:p>
        </p:txBody>
      </p:sp>
    </p:spTree>
    <p:extLst>
      <p:ext uri="{BB962C8B-B14F-4D97-AF65-F5344CB8AC3E}">
        <p14:creationId xmlns:p14="http://schemas.microsoft.com/office/powerpoint/2010/main" val="16598057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20170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94447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3</a:t>
            </a:fld>
            <a:endParaRPr lang="en-US"/>
          </a:p>
        </p:txBody>
      </p:sp>
    </p:spTree>
    <p:extLst>
      <p:ext uri="{BB962C8B-B14F-4D97-AF65-F5344CB8AC3E}">
        <p14:creationId xmlns:p14="http://schemas.microsoft.com/office/powerpoint/2010/main" val="39569151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sources are items that allow you to take action on your own.  Sometimes you simply need to find more information so that you can take the correct actions.</a:t>
            </a:r>
          </a:p>
        </p:txBody>
      </p:sp>
      <p:sp>
        <p:nvSpPr>
          <p:cNvPr id="4" name="Slide Number Placeholder 3"/>
          <p:cNvSpPr>
            <a:spLocks noGrp="1"/>
          </p:cNvSpPr>
          <p:nvPr>
            <p:ph type="sldNum" sz="quarter" idx="5"/>
          </p:nvPr>
        </p:nvSpPr>
        <p:spPr/>
        <p:txBody>
          <a:bodyPr/>
          <a:lstStyle/>
          <a:p>
            <a:fld id="{820133BD-6629-D245-9461-799999F1C98F}" type="slidenum">
              <a:rPr lang="en-US" smtClean="0"/>
              <a:t>39</a:t>
            </a:fld>
            <a:endParaRPr lang="en-US"/>
          </a:p>
        </p:txBody>
      </p:sp>
    </p:spTree>
    <p:extLst>
      <p:ext uri="{BB962C8B-B14F-4D97-AF65-F5344CB8AC3E}">
        <p14:creationId xmlns:p14="http://schemas.microsoft.com/office/powerpoint/2010/main" val="18673746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F0E8ADD-5317-4C14-B1BC-530D7C569EE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3/2021 3: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3783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966B356-2F22-40D0-A92B-C8127227BBA1}" type="slidenum">
              <a:rPr lang="en-US" smtClean="0"/>
              <a:t>5</a:t>
            </a:fld>
            <a:endParaRPr lang="en-US"/>
          </a:p>
        </p:txBody>
      </p:sp>
    </p:spTree>
    <p:extLst>
      <p:ext uri="{BB962C8B-B14F-4D97-AF65-F5344CB8AC3E}">
        <p14:creationId xmlns:p14="http://schemas.microsoft.com/office/powerpoint/2010/main" val="17586128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a:t>=========================</a:t>
            </a:r>
          </a:p>
          <a:p>
            <a:r>
              <a:rPr lang="en-US" b="1" noProof="0"/>
              <a:t>Why are we asking this information?</a:t>
            </a:r>
          </a:p>
          <a:p>
            <a:pPr marL="171450" indent="-171450">
              <a:buFont typeface="Arial" panose="020B0604020202020204" pitchFamily="34" charset="0"/>
              <a:buChar char="•"/>
            </a:pPr>
            <a:r>
              <a:rPr lang="en-US" noProof="0"/>
              <a:t>We want to have an overview of the security strategy to spot impacts on security, performance, project timeline, and maintainability.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50" noProof="0">
                <a:latin typeface="Segoe UI"/>
                <a:cs typeface="Segoe UI"/>
              </a:rPr>
              <a:t>This open question aims at understanding the security principles you have planned to use to restrict privileges to records.</a:t>
            </a:r>
            <a:br>
              <a:rPr lang="en-US" sz="850" noProof="0">
                <a:cs typeface="Segoe UI"/>
              </a:rPr>
            </a:b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endParaRPr lang="en-US"/>
          </a:p>
          <a:p>
            <a:pPr marL="171450" indent="-171450">
              <a:buFont typeface="Arial" panose="020B0604020202020204" pitchFamily="34" charset="0"/>
              <a:buChar char="•"/>
              <a:defRPr/>
            </a:pPr>
            <a:r>
              <a:rPr lang="en-US" sz="850">
                <a:latin typeface="Segoe UI"/>
                <a:cs typeface="Segoe UI"/>
              </a:rPr>
              <a:t>When thinking about your security strategy, consider the </a:t>
            </a:r>
            <a:r>
              <a:rPr lang="en-US" sz="800">
                <a:latin typeface="Segoe UI"/>
                <a:cs typeface="Segoe UI"/>
              </a:rPr>
              <a:t>high-level description of the scope of security requirements, design, and tools that will be used.</a:t>
            </a:r>
          </a:p>
          <a:p>
            <a:pPr marL="171450" indent="-171450">
              <a:buFont typeface="Arial" panose="020B0604020202020204" pitchFamily="34" charset="0"/>
              <a:buChar char="•"/>
              <a:defRPr/>
            </a:pPr>
            <a:r>
              <a:rPr lang="en-US" sz="800">
                <a:latin typeface="Segoe UI"/>
                <a:cs typeface="Segoe UI"/>
              </a:rPr>
              <a:t>Subsequent questions will probe further for these details.</a:t>
            </a:r>
          </a:p>
          <a:p>
            <a:pPr marL="171450" indent="-171450">
              <a:buFont typeface="Arial" panose="020B0604020202020204" pitchFamily="34" charset="0"/>
              <a:buChar char="•"/>
            </a:pPr>
            <a:r>
              <a:rPr lang="en-US" noProof="0"/>
              <a:t>If you have slides providing a high-level view of the security strategy, feel free to paste them he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The rest of the presentation generally contains more closed questions on the used features, so this slide is a good opportunity to explain how you are implementing security features in your own wor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CE e.g., “Access to records is organized around a hierarchy of 50 business units. Record access management is then mostly done through team ownership for most entities (with custom assignment logic), access teams for opportunities and user ownership of activities. Most users are dispatched in Business Units, while transverse functions (10%) are at the root level and are given access to business unit’s data through owner teams on a per-business unit level.”</a:t>
            </a:r>
          </a:p>
          <a:p>
            <a:endParaRPr lang="en-US" noProof="0"/>
          </a:p>
          <a:p>
            <a:r>
              <a:rPr lang="en-US" noProof="0"/>
              <a:t>=========================</a:t>
            </a:r>
          </a:p>
          <a:p>
            <a:pPr marL="0" indent="0">
              <a:buFont typeface="Arial" panose="020B0604020202020204" pitchFamily="34" charset="0"/>
              <a:buNone/>
            </a:pPr>
            <a:r>
              <a:rPr lang="en-US" b="1" noProof="0"/>
              <a:t>Resources:</a:t>
            </a:r>
          </a:p>
          <a:p>
            <a:pPr marL="171450" indent="-171450">
              <a:buFont typeface="Arial" panose="020B0604020202020204" pitchFamily="34" charset="0"/>
              <a:buChar char="•"/>
            </a:pPr>
            <a:r>
              <a:rPr lang="fr-FR" b="0"/>
              <a:t>Security in Microsoft Dataverse </a:t>
            </a:r>
            <a:r>
              <a:rPr lang="fr-FR"/>
              <a:t>(https://docs.microsoft.com/power-platform/admin/wp-security)</a:t>
            </a:r>
          </a:p>
          <a:p>
            <a:pPr marL="171450" indent="-171450">
              <a:buFont typeface="Arial" panose="020B0604020202020204" pitchFamily="34" charset="0"/>
              <a:buChar char="•"/>
            </a:pPr>
            <a:r>
              <a:rPr lang="en-US" noProof="0"/>
              <a:t>Security and data access in Power Apps (https://docs.microsoft.com/powerapps/developer/data-platform/security-model)</a:t>
            </a:r>
          </a:p>
          <a:p>
            <a:pPr marL="171450" indent="-171450">
              <a:buFont typeface="Arial" panose="020B0604020202020204" pitchFamily="34" charset="0"/>
              <a:buChar char="•"/>
            </a:pPr>
            <a:r>
              <a:rPr lang="en-US"/>
              <a:t>Success by Design: Security Strategy in Dynamics 365 Customer Engagement apps (https://docs.microsoft.com/learn/modules/fast-track-security/2-security-workshop-topic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a:t>Success by Design: Plan and implement security in Finance and Operations apps (https://docs.microsoft.com/learn/modules/plan-implement-security-finance-operations/)</a:t>
            </a:r>
          </a:p>
        </p:txBody>
      </p:sp>
      <p:sp>
        <p:nvSpPr>
          <p:cNvPr id="4" name="Slide Number Placeholder 3"/>
          <p:cNvSpPr>
            <a:spLocks noGrp="1"/>
          </p:cNvSpPr>
          <p:nvPr>
            <p:ph type="sldNum" sz="quarter" idx="5"/>
          </p:nvPr>
        </p:nvSpPr>
        <p:spPr/>
        <p:txBody>
          <a:bodyPr/>
          <a:lstStyle/>
          <a:p>
            <a:fld id="{820133BD-6629-D245-9461-799999F1C98F}" type="slidenum">
              <a:rPr lang="en-US" smtClean="0"/>
              <a:t>7</a:t>
            </a:fld>
            <a:endParaRPr lang="en-US"/>
          </a:p>
        </p:txBody>
      </p:sp>
    </p:spTree>
    <p:extLst>
      <p:ext uri="{BB962C8B-B14F-4D97-AF65-F5344CB8AC3E}">
        <p14:creationId xmlns:p14="http://schemas.microsoft.com/office/powerpoint/2010/main" val="3484525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a:t>=========================</a:t>
            </a:r>
          </a:p>
          <a:p>
            <a:r>
              <a:rPr lang="en-US" b="1" noProof="0"/>
              <a:t>Why are we asking this information?</a:t>
            </a:r>
          </a:p>
          <a:p>
            <a:pPr marL="171450" indent="-171450">
              <a:buFont typeface="Arial" panose="020B0604020202020204" pitchFamily="34" charset="0"/>
              <a:buChar char="•"/>
            </a:pPr>
            <a:r>
              <a:rPr lang="en-US" noProof="0"/>
              <a:t>We want to understand how the security workstream is structured with respect to overall implementation project team.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We want to validate that business stakeholders are also involved in some of the security discussions and requirement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endParaRPr lang="en-US"/>
          </a:p>
          <a:p>
            <a:pPr marL="171450" indent="-171450">
              <a:buFont typeface="Arial" panose="020B0604020202020204" pitchFamily="34" charset="0"/>
              <a:buChar char="•"/>
            </a:pPr>
            <a:r>
              <a:rPr lang="en-US" sz="900">
                <a:solidFill>
                  <a:schemeClr val="tx1"/>
                </a:solidFill>
              </a:rPr>
              <a:t>Who is executing security tasks?</a:t>
            </a:r>
          </a:p>
          <a:p>
            <a:pPr marL="171450" indent="-171450">
              <a:buFont typeface="Arial" panose="020B0604020202020204" pitchFamily="34" charset="0"/>
              <a:buChar char="•"/>
            </a:pPr>
            <a:r>
              <a:rPr lang="en-US" sz="900">
                <a:solidFill>
                  <a:schemeClr val="tx1"/>
                </a:solidFill>
              </a:rPr>
              <a:t>Is the customer managing all security implementation tasks?  </a:t>
            </a:r>
          </a:p>
          <a:p>
            <a:pPr marL="171450" indent="-171450">
              <a:buFont typeface="Arial" panose="020B0604020202020204" pitchFamily="34" charset="0"/>
              <a:buChar char="•"/>
            </a:pPr>
            <a:r>
              <a:rPr lang="en-US" sz="900">
                <a:solidFill>
                  <a:schemeClr val="tx1"/>
                </a:solidFill>
              </a:rPr>
              <a:t>Is the management of all security implementation tasks assigned to technical / IT resource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a:solidFill>
                  <a:schemeClr val="tx1"/>
                </a:solidFill>
              </a:rPr>
              <a:t>High-level description of the scale of security tasks, and the timeline and governance for them.  </a:t>
            </a:r>
          </a:p>
          <a:p>
            <a:pPr marL="171450" lvl="0" indent="-171450">
              <a:buFont typeface="Arial" panose="020B0604020202020204" pitchFamily="34" charset="0"/>
              <a:buChar char="•"/>
            </a:pPr>
            <a:endParaRPr lang="en-US"/>
          </a:p>
          <a:p>
            <a:r>
              <a:rPr lang="pt-PT"/>
              <a:t>=========================</a:t>
            </a:r>
          </a:p>
          <a:p>
            <a:r>
              <a:rPr lang="pt-PT" b="1"/>
              <a:t>What we’ll do with this information?</a:t>
            </a:r>
            <a:endParaRPr lang="pt-PT"/>
          </a:p>
          <a:p>
            <a:r>
              <a:rPr lang="pt-PT"/>
              <a:t>Better understand the architecture being built and provide recommendations for processes that may be missing or opportunities for leveraging Dynamics 365 features to increase your return on investment.</a:t>
            </a:r>
            <a:endParaRPr lang="en-US"/>
          </a:p>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8</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y are we asking this information?</a:t>
            </a:r>
          </a:p>
          <a:p>
            <a:pPr marL="171450" indent="-171450">
              <a:buFont typeface="Arial" panose="020B0604020202020204" pitchFamily="34" charset="0"/>
              <a:buChar char="•"/>
            </a:pPr>
            <a:r>
              <a:rPr lang="en-US" sz="900"/>
              <a:t>Understand regulation and compliance requirements that are applicable to your implementation (these can depend based on your industry and region) and that will potentially impact your design.</a:t>
            </a:r>
          </a:p>
          <a:p>
            <a:pPr marL="0" lvl="0" indent="0">
              <a:buFont typeface="Arial" panose="020B0604020202020204" pitchFamily="34" charset="0"/>
              <a:buNone/>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a:t>The format for your design may include different components such as word documents that outline the solution architecture, Visio diagrams that outline the flow, a Power Point with details of the design, screenshots of actual system configurations, Excel spreadsheets with details about mappings, allowed combinations and so on. You can provide links to existing documents or insert files into the slide. Or use additional slides to outline the details if required.</a:t>
            </a:r>
          </a:p>
          <a:p>
            <a:endParaRPr lang="en-US"/>
          </a:p>
          <a:p>
            <a:pPr marL="0" lvl="0" indent="0">
              <a:buFont typeface="Arial" panose="020B0604020202020204" pitchFamily="34" charset="0"/>
              <a:buNone/>
            </a:pPr>
            <a:r>
              <a:rPr lang="en-US"/>
              <a:t>You should consider and include details about the following considerations:</a:t>
            </a:r>
          </a:p>
          <a:p>
            <a:pPr marL="171450" lvl="0" indent="-171450">
              <a:buFont typeface="Arial" panose="020B0604020202020204" pitchFamily="34" charset="0"/>
              <a:buChar char="•"/>
            </a:pPr>
            <a:r>
              <a:rPr lang="en-US"/>
              <a:t>Are there specific legal and/or compliance certification requirements (e.g., GDPR) with which you must comply? </a:t>
            </a:r>
          </a:p>
          <a:p>
            <a:pPr marL="171450" lvl="0" indent="-171450">
              <a:buFont typeface="Arial" panose="020B0604020202020204" pitchFamily="34" charset="0"/>
              <a:buChar char="•"/>
            </a:pPr>
            <a:r>
              <a:rPr lang="en-US"/>
              <a:t>Are there data privacy or residency requirements? </a:t>
            </a:r>
          </a:p>
          <a:p>
            <a:pPr marL="171450" lvl="0" indent="-171450">
              <a:buFont typeface="Arial" panose="020B0604020202020204" pitchFamily="34" charset="0"/>
              <a:buChar char="•"/>
            </a:pPr>
            <a:r>
              <a:rPr lang="en-US"/>
              <a:t>Are there requirements for security validation or other compliance requirements, and what are the plans to address them?</a:t>
            </a:r>
          </a:p>
          <a:p>
            <a:pPr marL="171450" lvl="0" indent="-171450">
              <a:buFont typeface="Arial" panose="020B0604020202020204" pitchFamily="34" charset="0"/>
              <a:buChar char="•"/>
            </a:pPr>
            <a:r>
              <a:rPr lang="en-US"/>
              <a:t>What steps you have taken to ensure compliance with the applicable legal requirement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a:solidFill>
                  <a:schemeClr val="tx1"/>
                </a:solidFill>
              </a:rPr>
              <a:t>Are you aware of the resources available at the Microsoft Trust Center?</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a:solidFill>
                  <a:schemeClr val="tx1"/>
                </a:solidFill>
              </a:rPr>
              <a:t>Are you deploying to a Government Community Cloud (GCC)?</a:t>
            </a:r>
            <a:endParaRPr lang="en-US"/>
          </a:p>
          <a:p>
            <a:pPr marL="0" lvl="0" indent="0">
              <a:buFont typeface="Arial" panose="020B0604020202020204" pitchFamily="34" charset="0"/>
              <a:buNone/>
            </a:pPr>
            <a:endParaRPr lang="en-US"/>
          </a:p>
          <a:p>
            <a:r>
              <a:rPr lang="pt-PT"/>
              <a:t>=========================</a:t>
            </a:r>
          </a:p>
          <a:p>
            <a:r>
              <a:rPr lang="pt-PT" b="1"/>
              <a:t>What we’ll do with this information?</a:t>
            </a:r>
            <a:endParaRPr lang="en-US"/>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a:t>Provide recommendations and information on additional resources.</a:t>
            </a:r>
          </a:p>
          <a:p>
            <a:pPr marL="0" lvl="0" indent="0">
              <a:buFont typeface="Arial" panose="020B0604020202020204" pitchFamily="34" charset="0"/>
              <a:buNone/>
            </a:pPr>
            <a:endParaRPr lang="en-US"/>
          </a:p>
          <a:p>
            <a:r>
              <a:rPr lang="en-US" noProof="0"/>
              <a:t>=========================</a:t>
            </a:r>
          </a:p>
          <a:p>
            <a:pPr marL="0" indent="0">
              <a:buFont typeface="Arial" panose="020B0604020202020204" pitchFamily="34" charset="0"/>
              <a:buNone/>
            </a:pPr>
            <a:r>
              <a:rPr lang="en-US" b="1" noProof="0"/>
              <a:t>Resources:</a:t>
            </a:r>
          </a:p>
          <a:p>
            <a:pPr marL="171450" indent="-171450">
              <a:buFont typeface="Arial" panose="020B0604020202020204" pitchFamily="34" charset="0"/>
              <a:buChar char="•"/>
            </a:pPr>
            <a:r>
              <a:rPr lang="en-US"/>
              <a:t>Compliance and data privacy (https://docs.microsoft.com/power-platform/admin/wp-compliance-data-privacy)</a:t>
            </a:r>
          </a:p>
          <a:p>
            <a:pPr marL="171450" indent="-171450">
              <a:buFont typeface="Arial" panose="020B0604020202020204" pitchFamily="34" charset="0"/>
              <a:buChar char="•"/>
            </a:pPr>
            <a:r>
              <a:rPr lang="en-US"/>
              <a:t>Microsoft Trust Center (http://www.microsoft.com/trustcenter)</a:t>
            </a:r>
          </a:p>
          <a:p>
            <a:pPr marL="171450" indent="-171450">
              <a:buFont typeface="Arial" panose="020B0604020202020204" pitchFamily="34" charset="0"/>
              <a:buChar char="•"/>
            </a:pPr>
            <a:endParaRPr lang="en-US"/>
          </a:p>
          <a:p>
            <a:pPr marL="0" lvl="0" indent="0">
              <a:buFont typeface="Arial" panose="020B0604020202020204" pitchFamily="34" charset="0"/>
              <a:buNone/>
            </a:pPr>
            <a:r>
              <a:rPr lang="en-US"/>
              <a:t> </a:t>
            </a:r>
          </a:p>
        </p:txBody>
      </p:sp>
      <p:sp>
        <p:nvSpPr>
          <p:cNvPr id="4" name="Slide Number Placeholder 3"/>
          <p:cNvSpPr>
            <a:spLocks noGrp="1"/>
          </p:cNvSpPr>
          <p:nvPr>
            <p:ph type="sldNum" sz="quarter" idx="5"/>
          </p:nvPr>
        </p:nvSpPr>
        <p:spPr/>
        <p:txBody>
          <a:bodyPr/>
          <a:lstStyle/>
          <a:p>
            <a:fld id="{820133BD-6629-D245-9461-799999F1C98F}" type="slidenum">
              <a:rPr lang="en-US" smtClean="0"/>
              <a:t>10</a:t>
            </a:fld>
            <a:endParaRPr lang="en-US"/>
          </a:p>
        </p:txBody>
      </p:sp>
    </p:spTree>
    <p:extLst>
      <p:ext uri="{BB962C8B-B14F-4D97-AF65-F5344CB8AC3E}">
        <p14:creationId xmlns:p14="http://schemas.microsoft.com/office/powerpoint/2010/main" val="37893808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y are we asking this information?</a:t>
            </a:r>
          </a:p>
          <a:p>
            <a:pPr marL="171450" indent="-171450">
              <a:buFont typeface="Arial" panose="020B0604020202020204" pitchFamily="34" charset="0"/>
              <a:buChar char="•"/>
            </a:pPr>
            <a:r>
              <a:rPr lang="en-US" sz="900"/>
              <a:t>To understand security requirements that are applicable to your implementation and that will potentially impact your design.</a:t>
            </a:r>
            <a:endParaRPr lang="en-GB" sz="900"/>
          </a:p>
          <a:p>
            <a:pPr marL="0" lvl="0" indent="0">
              <a:buFont typeface="Arial" panose="020B0604020202020204" pitchFamily="34" charset="0"/>
              <a:buNone/>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a:t>The format for your design may include different components such as word documents that outline the solution architecture, Visio diagrams that outline the flow, a Power Point with details of the design, screenshots of actual system configurations, Excel spreadsheets with details about mappings, allowed combinations and so on. You can provide links to existing documents or insert files into the slide. Or use additional slides to outline the details if required.</a:t>
            </a:r>
          </a:p>
          <a:p>
            <a:endParaRPr lang="en-US"/>
          </a:p>
          <a:p>
            <a:pPr marL="0" lvl="0" indent="0">
              <a:buFont typeface="Arial" panose="020B0604020202020204" pitchFamily="34" charset="0"/>
              <a:buNone/>
            </a:pPr>
            <a:r>
              <a:rPr lang="en-US"/>
              <a:t>You should consider and include details about the following consideration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a:solidFill>
                  <a:schemeClr val="tx1"/>
                </a:solidFill>
              </a:rPr>
              <a:t>Do you need to sanitize or obfuscate data used in non-production environments?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a:solidFill>
                  <a:schemeClr val="tx1"/>
                </a:solidFill>
              </a:rPr>
              <a:t>What plans do you have for data security in ALM and pre-production environments? </a:t>
            </a:r>
          </a:p>
          <a:p>
            <a:pPr marL="171450" lvl="0" indent="-171450">
              <a:buFont typeface="Arial" panose="020B0604020202020204" pitchFamily="34" charset="0"/>
              <a:buChar char="•"/>
            </a:pPr>
            <a:r>
              <a:rPr lang="en-US"/>
              <a:t>Do you have specific compliance requirements for data retention?  (e.g., do you have a business requirement to archive database backups for more than 28 days?)</a:t>
            </a:r>
          </a:p>
          <a:p>
            <a:pPr marL="0" lvl="0" indent="0">
              <a:buFont typeface="Arial" panose="020B0604020202020204" pitchFamily="34" charset="0"/>
              <a:buNone/>
            </a:pPr>
            <a:endParaRPr lang="en-US"/>
          </a:p>
          <a:p>
            <a:r>
              <a:rPr lang="pt-PT"/>
              <a:t>=========================</a:t>
            </a:r>
          </a:p>
          <a:p>
            <a:r>
              <a:rPr lang="pt-PT" b="1"/>
              <a:t>What we’ll do with this information?</a:t>
            </a:r>
            <a:endParaRPr lang="en-US"/>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a:t>Provide recommendations and information on additional resources.</a:t>
            </a:r>
          </a:p>
          <a:p>
            <a:pPr marL="0" lv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1</a:t>
            </a:fld>
            <a:endParaRPr lang="en-US"/>
          </a:p>
        </p:txBody>
      </p:sp>
    </p:spTree>
    <p:extLst>
      <p:ext uri="{BB962C8B-B14F-4D97-AF65-F5344CB8AC3E}">
        <p14:creationId xmlns:p14="http://schemas.microsoft.com/office/powerpoint/2010/main" val="37893808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y are we asking this information?</a:t>
            </a:r>
          </a:p>
          <a:p>
            <a:pPr marL="171450" indent="-171450">
              <a:buFont typeface="Arial" panose="020B0604020202020204" pitchFamily="34" charset="0"/>
              <a:buChar char="•"/>
            </a:pPr>
            <a:r>
              <a:rPr lang="en-US" sz="900"/>
              <a:t>To understand security requirements that are applicable to your implementation and that will potentially impact your design.</a:t>
            </a:r>
            <a:endParaRPr lang="en-GB" sz="900"/>
          </a:p>
          <a:p>
            <a:pPr marL="0" lvl="0" indent="0">
              <a:buFont typeface="Arial" panose="020B0604020202020204" pitchFamily="34" charset="0"/>
              <a:buNone/>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p>
          <a:p>
            <a:r>
              <a:rPr lang="en-US" sz="900">
                <a:solidFill>
                  <a:schemeClr val="tx1"/>
                </a:solidFill>
              </a:rPr>
              <a:t>Security requirements and obligations for every organization are different, and driven by regulatory requirements, contractual requirements, and corporate policies.  Please summarize the key requirements here, or paste content or links, if applicable.</a:t>
            </a:r>
          </a:p>
          <a:p>
            <a:pPr marL="0" lvl="0" indent="0">
              <a:buFont typeface="Arial" panose="020B0604020202020204" pitchFamily="34" charset="0"/>
              <a:buNone/>
            </a:pPr>
            <a:endParaRPr lang="en-US"/>
          </a:p>
          <a:p>
            <a:r>
              <a:rPr lang="pt-PT"/>
              <a:t>=========================</a:t>
            </a:r>
          </a:p>
          <a:p>
            <a:r>
              <a:rPr lang="pt-PT" b="1"/>
              <a:t>What we’ll do with this information?</a:t>
            </a:r>
            <a:endParaRPr lang="en-US"/>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a:t>Provide recommendations and information on additional resources </a:t>
            </a:r>
            <a:r>
              <a:rPr lang="en-US" noProof="0"/>
              <a:t>or alternatives or warning in case we identify risks.</a:t>
            </a:r>
            <a:endParaRPr lang="en-US"/>
          </a:p>
          <a:p>
            <a:pPr marL="0" lv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2</a:t>
            </a:fld>
            <a:endParaRPr lang="en-US"/>
          </a:p>
        </p:txBody>
      </p:sp>
    </p:spTree>
    <p:extLst>
      <p:ext uri="{BB962C8B-B14F-4D97-AF65-F5344CB8AC3E}">
        <p14:creationId xmlns:p14="http://schemas.microsoft.com/office/powerpoint/2010/main" val="37893808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2.jpeg"/><Relationship Id="rId10" Type="http://schemas.openxmlformats.org/officeDocument/2006/relationships/image" Target="../media/image5.emf"/><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6_Title with 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1599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045">
          <p15:clr>
            <a:srgbClr val="FBAE40"/>
          </p15:clr>
        </p15:guide>
        <p15:guide id="2" pos="578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970083-3A71-48F6-9BD0-D3686BD2843E}"/>
              </a:ext>
            </a:extLst>
          </p:cNvPr>
          <p:cNvSpPr>
            <a:spLocks noGrp="1"/>
          </p:cNvSpPr>
          <p:nvPr>
            <p:ph type="title"/>
          </p:nvPr>
        </p:nvSpPr>
        <p:spPr/>
        <p:txBody>
          <a:bodyPr anchor="ctr"/>
          <a:lstStyle>
            <a:lvl1pPr>
              <a:defRPr sz="4000">
                <a:solidFill>
                  <a:schemeClr val="tx1"/>
                </a:solidFill>
              </a:defRPr>
            </a:lvl1pPr>
          </a:lstStyle>
          <a:p>
            <a:r>
              <a:rPr lang="en-US"/>
              <a:t>Click to edit Master title style</a:t>
            </a:r>
            <a:endParaRPr lang="en-GB"/>
          </a:p>
        </p:txBody>
      </p:sp>
      <p:sp>
        <p:nvSpPr>
          <p:cNvPr id="7" name="Content Placeholder 6">
            <a:extLst>
              <a:ext uri="{FF2B5EF4-FFF2-40B4-BE49-F238E27FC236}">
                <a16:creationId xmlns:a16="http://schemas.microsoft.com/office/drawing/2014/main" id="{9AB5242A-416F-4F00-9C67-1EF1C6073DCE}"/>
              </a:ext>
            </a:extLst>
          </p:cNvPr>
          <p:cNvSpPr>
            <a:spLocks noGrp="1"/>
          </p:cNvSpPr>
          <p:nvPr>
            <p:ph sz="quarter" idx="10"/>
          </p:nvPr>
        </p:nvSpPr>
        <p:spPr>
          <a:xfrm>
            <a:off x="267874" y="1838324"/>
            <a:ext cx="11655839" cy="4587875"/>
          </a:xfrm>
        </p:spPr>
        <p:txBody>
          <a:bodyPr/>
          <a:lstStyle>
            <a:lvl1pPr>
              <a:buSzPct val="100000"/>
              <a:defRPr sz="2000">
                <a:latin typeface="+mn-lt"/>
              </a:defRPr>
            </a:lvl1pPr>
            <a:lvl2pPr>
              <a:buSzPct val="70000"/>
              <a:buFont typeface="Courier New" panose="02070309020205020404" pitchFamily="49" charset="0"/>
              <a:buChar char="o"/>
              <a:defRPr sz="2000">
                <a:latin typeface="+mn-lt"/>
              </a:defRPr>
            </a:lvl2pPr>
            <a:lvl3pPr>
              <a:buSzPct val="60000"/>
              <a:buFont typeface="Wingdings" panose="05000000000000000000" pitchFamily="2" charset="2"/>
              <a:buChar char="§"/>
              <a:defRPr sz="2000">
                <a:latin typeface="+mn-lt"/>
              </a:defRPr>
            </a:lvl3pPr>
            <a:lvl4pPr>
              <a:buSzPct val="60000"/>
              <a:buFont typeface="Wingdings" panose="05000000000000000000" pitchFamily="2" charset="2"/>
              <a:buChar char="§"/>
              <a:defRPr sz="2000">
                <a:latin typeface="+mn-lt"/>
              </a:defRPr>
            </a:lvl4pPr>
            <a:lvl5pPr>
              <a:buSzPct val="60000"/>
              <a:buFont typeface="Wingdings" panose="05000000000000000000" pitchFamily="2" charset="2"/>
              <a:buChar char="§"/>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E10F35C-F5C7-474E-8739-D7BA8C2F7C9E}"/>
              </a:ext>
            </a:extLst>
          </p:cNvPr>
          <p:cNvSpPr>
            <a:spLocks noGrp="1"/>
          </p:cNvSpPr>
          <p:nvPr>
            <p:ph type="body" sz="quarter" idx="11" hasCustomPrompt="1"/>
          </p:nvPr>
        </p:nvSpPr>
        <p:spPr>
          <a:xfrm>
            <a:off x="269875" y="1189038"/>
            <a:ext cx="11652250" cy="461665"/>
          </a:xfrm>
        </p:spPr>
        <p:txBody>
          <a:bodyPr/>
          <a:lstStyle>
            <a:lvl1pPr marL="0" indent="0">
              <a:buFontTx/>
              <a:buNone/>
              <a:defRPr sz="2000">
                <a:solidFill>
                  <a:schemeClr val="accent1"/>
                </a:solidFill>
              </a:defRPr>
            </a:lvl1pPr>
            <a:lvl2pPr marL="336145" indent="0">
              <a:buFontTx/>
              <a:buNone/>
              <a:defRPr sz="2000"/>
            </a:lvl2pPr>
            <a:lvl3pPr marL="560241" indent="0">
              <a:buFontTx/>
              <a:buNone/>
              <a:defRPr sz="2000"/>
            </a:lvl3pPr>
            <a:lvl4pPr marL="784338" indent="0">
              <a:buFontTx/>
              <a:buNone/>
              <a:defRPr sz="2000"/>
            </a:lvl4pPr>
            <a:lvl5pPr marL="1008434" indent="0">
              <a:buFontTx/>
              <a:buNone/>
              <a:defRPr sz="2000"/>
            </a:lvl5pPr>
          </a:lstStyle>
          <a:p>
            <a:pPr lvl="0"/>
            <a:r>
              <a:rPr lang="en-US"/>
              <a:t>Subtitle</a:t>
            </a:r>
          </a:p>
        </p:txBody>
      </p:sp>
    </p:spTree>
    <p:extLst>
      <p:ext uri="{BB962C8B-B14F-4D97-AF65-F5344CB8AC3E}">
        <p14:creationId xmlns:p14="http://schemas.microsoft.com/office/powerpoint/2010/main" val="2715717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3_Title Slide Photo_Option">
    <p:bg>
      <p:bgPr>
        <a:solidFill>
          <a:schemeClr val="accent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67AB207-6F4C-4011-8282-D806427B4D16}"/>
              </a:ext>
            </a:extLst>
          </p:cNvPr>
          <p:cNvPicPr>
            <a:picLocks noChangeAspect="1"/>
          </p:cNvPicPr>
          <p:nvPr userDrawn="1"/>
        </p:nvPicPr>
        <p:blipFill rotWithShape="1">
          <a:blip r:embed="rId5"/>
          <a:srcRect l="13226" t="26785"/>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graphicFrame>
        <p:nvGraphicFramePr>
          <p:cNvPr id="5" name="Object 4" hidden="1">
            <a:extLst>
              <a:ext uri="{FF2B5EF4-FFF2-40B4-BE49-F238E27FC236}">
                <a16:creationId xmlns:a16="http://schemas.microsoft.com/office/drawing/2014/main" id="{F29527B2-D526-4CEB-A7B6-E8A2DC1A6786}"/>
              </a:ext>
            </a:extLst>
          </p:cNvPr>
          <p:cNvGraphicFramePr>
            <a:graphicFrameLocks noChangeAspect="1"/>
          </p:cNvGraphicFramePr>
          <p:nvPr userDrawn="1">
            <p:custDataLst>
              <p:tags r:id="rId2"/>
            </p:custDataLst>
            <p:extLst>
              <p:ext uri="{D42A27DB-BD31-4B8C-83A1-F6EECF244321}">
                <p14:modId xmlns:p14="http://schemas.microsoft.com/office/powerpoint/2010/main" val="1265963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6" imgW="425" imgH="426" progId="TCLayout.ActiveDocument.1">
                  <p:embed/>
                </p:oleObj>
              </mc:Choice>
              <mc:Fallback>
                <p:oleObj name="think-cell Slide" r:id="rId6" imgW="425" imgH="426" progId="TCLayout.ActiveDocument.1">
                  <p:embed/>
                  <p:pic>
                    <p:nvPicPr>
                      <p:cNvPr id="5" name="Object 4" hidden="1">
                        <a:extLst>
                          <a:ext uri="{FF2B5EF4-FFF2-40B4-BE49-F238E27FC236}">
                            <a16:creationId xmlns:a16="http://schemas.microsoft.com/office/drawing/2014/main" id="{F29527B2-D526-4CEB-A7B6-E8A2DC1A678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248D34-F62C-43CD-9EBC-A7D85B85CCAA}"/>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4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13" name="Graphic 12">
            <a:extLst>
              <a:ext uri="{FF2B5EF4-FFF2-40B4-BE49-F238E27FC236}">
                <a16:creationId xmlns:a16="http://schemas.microsoft.com/office/drawing/2014/main" id="{D925D7E7-2E5D-4A14-A0B0-6CBD592C2D7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30956" y="-12699"/>
            <a:ext cx="5943600" cy="6870699"/>
          </a:xfrm>
          <a:prstGeom prst="rect">
            <a:avLst/>
          </a:prstGeom>
        </p:spPr>
      </p:pic>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10"/>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0527043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94734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MSIPCMContentMarking" descr="{&quot;HashCode&quot;:-1634785317,&quot;Placement&quot;:&quot;Footer&quot;}">
            <a:extLst>
              <a:ext uri="{FF2B5EF4-FFF2-40B4-BE49-F238E27FC236}">
                <a16:creationId xmlns:a16="http://schemas.microsoft.com/office/drawing/2014/main" id="{7C672AED-C10B-487D-A34A-26B25326A601}"/>
              </a:ext>
            </a:extLst>
          </p:cNvPr>
          <p:cNvSpPr txBox="1"/>
          <p:nvPr userDrawn="1"/>
        </p:nvSpPr>
        <p:spPr>
          <a:xfrm>
            <a:off x="0" y="6664502"/>
            <a:ext cx="2123853" cy="124650"/>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00">
                <a:solidFill>
                  <a:srgbClr val="191919"/>
                </a:solidFill>
                <a:effectLst/>
                <a:latin typeface="+mn-lt"/>
              </a:rPr>
              <a:t>Classified as Microsoft Confidential</a:t>
            </a: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710" r:id="rId1"/>
    <p:sldLayoutId id="2147484639" r:id="rId2"/>
    <p:sldLayoutId id="2147484584" r:id="rId3"/>
    <p:sldLayoutId id="2147484583" r:id="rId4"/>
    <p:sldLayoutId id="2147484976" r:id="rId5"/>
    <p:sldLayoutId id="2147484977" r:id="rId6"/>
    <p:sldLayoutId id="2147484978" r:id="rId7"/>
    <p:sldLayoutId id="2147484979" r:id="rId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hyperlink" Target="https://docs.microsoft.com/en-us/compliance/regulatory/offering-home"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docs.microsoft.com/en-us/compliance/regulatory/offering-home"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docs.microsoft.com/en-us/compliance/regulatory/offering-home"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hyperlink" Target="https://docs.microsoft.com/en-us/dynamics365/fin-ops-core/dev-itpro/sysadmin/role-based-security"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docs.microsoft.com/en-us/dynamics365/fin-ops-core/dev-itpro/sysadmin/role-based-security"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www.microsoft.com/en-us/fasttrack/?rtc=1"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8" Type="http://schemas.openxmlformats.org/officeDocument/2006/relationships/hyperlink" Target="https://community.dynamics.com/365/b/techtalks" TargetMode="External"/><Relationship Id="rId3" Type="http://schemas.openxmlformats.org/officeDocument/2006/relationships/hyperlink" Target="https://docs.microsoft.com/learn/modules/fast-track-security/2-security-workshop-topics" TargetMode="External"/><Relationship Id="rId7" Type="http://schemas.openxmlformats.org/officeDocument/2006/relationships/hyperlink" Target="https://docs.microsoft.com/en-us/dynamics365/fin-ops-core/dev-itpro/sysadmin/role-based-security"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hyperlink" Target="https://docs.microsoft.com/powerapps/developer/data-platform/security-model" TargetMode="External"/><Relationship Id="rId5" Type="http://schemas.openxmlformats.org/officeDocument/2006/relationships/hyperlink" Target="https://docs.microsoft.com/power-platform/admin/wp-security" TargetMode="External"/><Relationship Id="rId4" Type="http://schemas.openxmlformats.org/officeDocument/2006/relationships/hyperlink" Target="https://docs.microsoft.com/learn/modules/plan-implement-security-finance-operations/"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1AAB675F-0E53-4F4A-8014-781B09191E9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521581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5" imgW="425" imgH="426" progId="TCLayout.ActiveDocument.1">
                  <p:embed/>
                </p:oleObj>
              </mc:Choice>
              <mc:Fallback>
                <p:oleObj name="think-cell Slide" r:id="rId5" imgW="425" imgH="426" progId="TCLayout.ActiveDocument.1">
                  <p:embed/>
                  <p:pic>
                    <p:nvPicPr>
                      <p:cNvPr id="5" name="Object 4">
                        <a:extLst>
                          <a:ext uri="{FF2B5EF4-FFF2-40B4-BE49-F238E27FC236}">
                            <a16:creationId xmlns:a16="http://schemas.microsoft.com/office/drawing/2014/main" id="{1AAB675F-0E53-4F4A-8014-781B09191E9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1">
            <a:extLst>
              <a:ext uri="{FF2B5EF4-FFF2-40B4-BE49-F238E27FC236}">
                <a16:creationId xmlns:a16="http://schemas.microsoft.com/office/drawing/2014/main" id="{BFEA9A10-E543-4DDB-8975-4B3DD6F142F7}"/>
              </a:ext>
            </a:extLst>
          </p:cNvPr>
          <p:cNvSpPr>
            <a:spLocks noGrp="1"/>
          </p:cNvSpPr>
          <p:nvPr>
            <p:ph type="title"/>
          </p:nvPr>
        </p:nvSpPr>
        <p:spPr>
          <a:xfrm>
            <a:off x="229230" y="1223341"/>
            <a:ext cx="5509097" cy="1793104"/>
          </a:xfrm>
        </p:spPr>
        <p:txBody>
          <a:bodyPr/>
          <a:lstStyle/>
          <a:p>
            <a:r>
              <a:rPr lang="en-GB" sz="3600"/>
              <a:t>FastTrack</a:t>
            </a:r>
            <a:br>
              <a:rPr lang="en-GB" sz="3600"/>
            </a:br>
            <a:r>
              <a:rPr lang="en-GB" sz="3600"/>
              <a:t>for Dynamics 365</a:t>
            </a:r>
            <a:br>
              <a:rPr lang="en-GB" sz="3600"/>
            </a:br>
            <a:endParaRPr lang="en-GB" sz="3600"/>
          </a:p>
        </p:txBody>
      </p:sp>
      <p:sp>
        <p:nvSpPr>
          <p:cNvPr id="19" name="Text Placeholder 5">
            <a:extLst>
              <a:ext uri="{FF2B5EF4-FFF2-40B4-BE49-F238E27FC236}">
                <a16:creationId xmlns:a16="http://schemas.microsoft.com/office/drawing/2014/main" id="{CE7FE010-44CF-434F-87CE-B51B61634818}"/>
              </a:ext>
            </a:extLst>
          </p:cNvPr>
          <p:cNvSpPr txBox="1">
            <a:spLocks/>
          </p:cNvSpPr>
          <p:nvPr/>
        </p:nvSpPr>
        <p:spPr>
          <a:xfrm>
            <a:off x="268288" y="6143356"/>
            <a:ext cx="3475809" cy="406265"/>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GB" sz="1600"/>
              <a:t>Workshop date: YYYY-MM-DD</a:t>
            </a:r>
          </a:p>
        </p:txBody>
      </p:sp>
      <p:sp>
        <p:nvSpPr>
          <p:cNvPr id="18" name="Text Placeholder 4">
            <a:extLst>
              <a:ext uri="{FF2B5EF4-FFF2-40B4-BE49-F238E27FC236}">
                <a16:creationId xmlns:a16="http://schemas.microsoft.com/office/drawing/2014/main" id="{3995259F-D331-4DDF-8671-034574DD2B09}"/>
              </a:ext>
            </a:extLst>
          </p:cNvPr>
          <p:cNvSpPr txBox="1">
            <a:spLocks/>
          </p:cNvSpPr>
          <p:nvPr/>
        </p:nvSpPr>
        <p:spPr>
          <a:xfrm>
            <a:off x="268288" y="3173413"/>
            <a:ext cx="5826125" cy="517065"/>
          </a:xfrm>
          <a:prstGeom prst="rect">
            <a:avLst/>
          </a:prstGeom>
        </p:spPr>
        <p:txBody>
          <a:bodyPr lIns="91440" tIns="45720" rIns="91440" bIns="45720" anchor="t"/>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GB" sz="2400">
                <a:solidFill>
                  <a:schemeClr val="bg1"/>
                </a:solidFill>
              </a:rPr>
              <a:t>Security strategy workshop</a:t>
            </a:r>
            <a:endParaRPr lang="en-GB" sz="2400">
              <a:solidFill>
                <a:schemeClr val="bg1"/>
              </a:solidFill>
              <a:cs typeface="Segoe UI Semibold"/>
            </a:endParaRPr>
          </a:p>
        </p:txBody>
      </p:sp>
    </p:spTree>
    <p:extLst>
      <p:ext uri="{BB962C8B-B14F-4D97-AF65-F5344CB8AC3E}">
        <p14:creationId xmlns:p14="http://schemas.microsoft.com/office/powerpoint/2010/main" val="318821415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457200"/>
            <a:ext cx="11018520" cy="553998"/>
          </a:xfrm>
        </p:spPr>
        <p:txBody>
          <a:bodyPr/>
          <a:lstStyle/>
          <a:p>
            <a:r>
              <a:rPr lang="en-GB"/>
              <a:t>Regulation and compliance (1/2)</a:t>
            </a: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268197"/>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Are there specific legal and/or compliance certification requirements (e.g., GDPR) with which you must comply? </a:t>
              </a:r>
              <a:br>
                <a:rPr lang="en-US" sz="1600">
                  <a:solidFill>
                    <a:schemeClr val="tx1"/>
                  </a:solidFill>
                </a:rPr>
              </a:br>
              <a:r>
                <a:rPr lang="en-US" sz="1600">
                  <a:solidFill>
                    <a:schemeClr val="tx1"/>
                  </a:solidFill>
                </a:rPr>
                <a:t>What are your plans to address them?  </a:t>
              </a:r>
              <a:br>
                <a:rPr lang="en-US" sz="1600">
                  <a:solidFill>
                    <a:schemeClr val="tx1"/>
                  </a:solidFill>
                </a:rPr>
              </a:br>
              <a:r>
                <a:rPr lang="en-US" sz="1600">
                  <a:solidFill>
                    <a:schemeClr val="tx1"/>
                  </a:solidFill>
                </a:rPr>
                <a:t>What steps you have taken to ensure compliance with the applicable legal requirements?</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2074460"/>
            <a:ext cx="11277600" cy="4440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ea typeface="+mn-lt"/>
                <a:cs typeface="+mn-lt"/>
              </a:rPr>
              <a:t>Add details here</a:t>
            </a:r>
          </a:p>
          <a:p>
            <a:pPr algn="ctr"/>
            <a:endParaRPr lang="en-US" sz="1600">
              <a:solidFill>
                <a:schemeClr val="tx1"/>
              </a:solidFill>
              <a:cs typeface="Segoe UI"/>
            </a:endParaRPr>
          </a:p>
          <a:p>
            <a:pPr algn="ctr"/>
            <a:r>
              <a:rPr lang="en-US" sz="1600">
                <a:solidFill>
                  <a:schemeClr val="tx1"/>
                </a:solidFill>
              </a:rPr>
              <a:t>The format may include different components such as word documents that outline the solution architecture, Visio diagrams that outline the flow, a Power Point with details of the design, screenshots of actual system configurations, Excel spreadsheets with details, etc. </a:t>
            </a:r>
          </a:p>
          <a:p>
            <a:pPr algn="ctr"/>
            <a:endParaRPr lang="en-US" sz="1600">
              <a:solidFill>
                <a:schemeClr val="tx1"/>
              </a:solidFill>
            </a:endParaRPr>
          </a:p>
          <a:p>
            <a:pPr algn="ctr"/>
            <a:r>
              <a:rPr lang="en-US" sz="1600">
                <a:solidFill>
                  <a:schemeClr val="tx1"/>
                </a:solidFill>
              </a:rPr>
              <a:t>You can provide links to existing documents or insert files into the slide. Or use additional slides to outline the details if required.</a:t>
            </a:r>
          </a:p>
          <a:p>
            <a:pPr algn="ctr"/>
            <a:br>
              <a:rPr lang="en-US" sz="1600">
                <a:solidFill>
                  <a:schemeClr val="tx1"/>
                </a:solidFill>
              </a:rPr>
            </a:br>
            <a:r>
              <a:rPr lang="en-US" sz="1600">
                <a:solidFill>
                  <a:schemeClr val="tx1"/>
                </a:solidFill>
              </a:rPr>
              <a:t>(See slide notes for additional information)</a:t>
            </a:r>
          </a:p>
          <a:p>
            <a:pPr algn="ctr"/>
            <a:endParaRPr lang="en-US" sz="1600">
              <a:solidFill>
                <a:schemeClr val="tx1"/>
              </a:solidFill>
            </a:endParaRPr>
          </a:p>
          <a:p>
            <a:pPr algn="ctr"/>
            <a:endParaRPr lang="en-US" sz="1600">
              <a:solidFill>
                <a:schemeClr val="tx1"/>
              </a:solidFill>
            </a:endParaRPr>
          </a:p>
        </p:txBody>
      </p:sp>
      <p:sp>
        <p:nvSpPr>
          <p:cNvPr id="16" name="TextBox 15">
            <a:extLst>
              <a:ext uri="{FF2B5EF4-FFF2-40B4-BE49-F238E27FC236}">
                <a16:creationId xmlns:a16="http://schemas.microsoft.com/office/drawing/2014/main" id="{8E167FF4-B894-48AF-B97B-2B027E9938D6}"/>
              </a:ext>
            </a:extLst>
          </p:cNvPr>
          <p:cNvSpPr txBox="1"/>
          <p:nvPr/>
        </p:nvSpPr>
        <p:spPr>
          <a:xfrm>
            <a:off x="4986338" y="6515100"/>
            <a:ext cx="6748462" cy="307777"/>
          </a:xfrm>
          <a:prstGeom prst="rect">
            <a:avLst/>
          </a:prstGeom>
          <a:noFill/>
        </p:spPr>
        <p:txBody>
          <a:bodyPr wrap="square">
            <a:spAutoFit/>
          </a:bodyPr>
          <a:lstStyle/>
          <a:p>
            <a:pPr algn="r"/>
            <a:r>
              <a:rPr lang="fr-FR" sz="1400">
                <a:hlinkClick r:id="rId3"/>
              </a:rPr>
              <a:t>Microsoft Compliance </a:t>
            </a:r>
            <a:r>
              <a:rPr lang="fr-FR" sz="1400" err="1">
                <a:hlinkClick r:id="rId3"/>
              </a:rPr>
              <a:t>Offerings</a:t>
            </a:r>
            <a:r>
              <a:rPr lang="fr-FR" sz="1400">
                <a:hlinkClick r:id="rId3"/>
              </a:rPr>
              <a:t> | Dynamics 365 | Microsoft Docs</a:t>
            </a:r>
            <a:endParaRPr lang="en-US" sz="1400"/>
          </a:p>
        </p:txBody>
      </p:sp>
    </p:spTree>
    <p:extLst>
      <p:ext uri="{BB962C8B-B14F-4D97-AF65-F5344CB8AC3E}">
        <p14:creationId xmlns:p14="http://schemas.microsoft.com/office/powerpoint/2010/main" val="28892242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457200"/>
            <a:ext cx="11018520" cy="553998"/>
          </a:xfrm>
        </p:spPr>
        <p:txBody>
          <a:bodyPr/>
          <a:lstStyle/>
          <a:p>
            <a:r>
              <a:rPr lang="en-GB">
                <a:cs typeface="Segoe UI"/>
              </a:rPr>
              <a:t>Regulation and compliance (2/2)</a:t>
            </a: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268197"/>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Do you need to sanitize or obfuscate data used in non-production environments? </a:t>
              </a:r>
              <a:br>
                <a:rPr lang="en-US" sz="1600">
                  <a:solidFill>
                    <a:schemeClr val="tx1"/>
                  </a:solidFill>
                </a:rPr>
              </a:br>
              <a:r>
                <a:rPr lang="en-US" sz="1600">
                  <a:solidFill>
                    <a:schemeClr val="tx1"/>
                  </a:solidFill>
                </a:rPr>
                <a:t>What plans do you have for data security in ALM and pre-production environments? </a:t>
              </a:r>
              <a:br>
                <a:rPr lang="en-US" sz="1600">
                  <a:solidFill>
                    <a:schemeClr val="tx1"/>
                  </a:solidFill>
                </a:rPr>
              </a:br>
              <a:r>
                <a:rPr lang="en-US" sz="1600">
                  <a:solidFill>
                    <a:schemeClr val="tx1"/>
                  </a:solidFill>
                </a:rPr>
                <a:t>Do you have specific compliance requirements for encryption, backup and data retention? </a:t>
              </a:r>
              <a:endParaRPr lang="en-US" sz="1600">
                <a:solidFill>
                  <a:schemeClr val="tx1"/>
                </a:solidFill>
                <a:cs typeface="Segoe UI"/>
              </a:endParaRP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2074460"/>
            <a:ext cx="11277600" cy="4440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ea typeface="+mn-lt"/>
                <a:cs typeface="+mn-lt"/>
              </a:rPr>
              <a:t>Add details here</a:t>
            </a:r>
          </a:p>
          <a:p>
            <a:pPr algn="ctr"/>
            <a:br>
              <a:rPr lang="en-US" sz="1600"/>
            </a:br>
            <a:r>
              <a:rPr lang="en-US" sz="1600">
                <a:solidFill>
                  <a:schemeClr val="tx1"/>
                </a:solidFill>
              </a:rPr>
              <a:t>The format may include different components such as word documents that outline the solution architecture, Visio diagrams that outline the flow, a PowerPoint with details of the design, screenshots of actual system configurations, Excel spreadsheets with details, etc. </a:t>
            </a:r>
            <a:endParaRPr lang="en-US">
              <a:solidFill>
                <a:schemeClr val="tx1"/>
              </a:solidFill>
            </a:endParaRPr>
          </a:p>
          <a:p>
            <a:pPr algn="ctr"/>
            <a:endParaRPr lang="en-US" sz="1600">
              <a:solidFill>
                <a:schemeClr val="tx1"/>
              </a:solidFill>
            </a:endParaRPr>
          </a:p>
          <a:p>
            <a:pPr algn="ctr"/>
            <a:r>
              <a:rPr lang="en-US" sz="1600">
                <a:solidFill>
                  <a:schemeClr val="tx1"/>
                </a:solidFill>
              </a:rPr>
              <a:t>You can provide links to existing documents or insert files into the slide. Or use additional slides to outline the details if required.</a:t>
            </a:r>
          </a:p>
          <a:p>
            <a:pPr algn="ctr"/>
            <a:br>
              <a:rPr lang="en-US" sz="1600">
                <a:solidFill>
                  <a:schemeClr val="tx1"/>
                </a:solidFill>
              </a:rPr>
            </a:br>
            <a:r>
              <a:rPr lang="en-US" sz="1600">
                <a:solidFill>
                  <a:schemeClr val="tx1"/>
                </a:solidFill>
              </a:rPr>
              <a:t>(See slide notes for additional information)</a:t>
            </a:r>
          </a:p>
          <a:p>
            <a:pPr algn="ctr"/>
            <a:endParaRPr lang="en-US" sz="1600">
              <a:solidFill>
                <a:schemeClr val="tx1"/>
              </a:solidFill>
            </a:endParaRPr>
          </a:p>
        </p:txBody>
      </p:sp>
      <p:sp>
        <p:nvSpPr>
          <p:cNvPr id="16" name="TextBox 15">
            <a:extLst>
              <a:ext uri="{FF2B5EF4-FFF2-40B4-BE49-F238E27FC236}">
                <a16:creationId xmlns:a16="http://schemas.microsoft.com/office/drawing/2014/main" id="{8E167FF4-B894-48AF-B97B-2B027E9938D6}"/>
              </a:ext>
            </a:extLst>
          </p:cNvPr>
          <p:cNvSpPr txBox="1"/>
          <p:nvPr/>
        </p:nvSpPr>
        <p:spPr>
          <a:xfrm>
            <a:off x="4986338" y="6515100"/>
            <a:ext cx="6748462" cy="307777"/>
          </a:xfrm>
          <a:prstGeom prst="rect">
            <a:avLst/>
          </a:prstGeom>
          <a:noFill/>
        </p:spPr>
        <p:txBody>
          <a:bodyPr wrap="square">
            <a:spAutoFit/>
          </a:bodyPr>
          <a:lstStyle/>
          <a:p>
            <a:pPr algn="r"/>
            <a:r>
              <a:rPr lang="fr-FR" sz="1400">
                <a:hlinkClick r:id="rId3"/>
              </a:rPr>
              <a:t>Microsoft Compliance </a:t>
            </a:r>
            <a:r>
              <a:rPr lang="fr-FR" sz="1400" err="1">
                <a:hlinkClick r:id="rId3"/>
              </a:rPr>
              <a:t>Offerings</a:t>
            </a:r>
            <a:r>
              <a:rPr lang="fr-FR" sz="1400">
                <a:hlinkClick r:id="rId3"/>
              </a:rPr>
              <a:t> | Dynamics 365 | Microsoft Docs</a:t>
            </a:r>
            <a:endParaRPr lang="en-US" sz="1400"/>
          </a:p>
        </p:txBody>
      </p:sp>
    </p:spTree>
    <p:extLst>
      <p:ext uri="{BB962C8B-B14F-4D97-AF65-F5344CB8AC3E}">
        <p14:creationId xmlns:p14="http://schemas.microsoft.com/office/powerpoint/2010/main" val="4946905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457200"/>
            <a:ext cx="11018520" cy="553998"/>
          </a:xfrm>
        </p:spPr>
        <p:txBody>
          <a:bodyPr/>
          <a:lstStyle/>
          <a:p>
            <a:r>
              <a:rPr lang="en-GB">
                <a:cs typeface="Segoe UI"/>
              </a:rPr>
              <a:t>Other requirements</a:t>
            </a:r>
            <a:endParaRPr lang="en-GB"/>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268197"/>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Please describe any additional security requirements you have documented for your implementation.</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888720"/>
            <a:ext cx="11277600" cy="46263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ea typeface="+mn-lt"/>
                <a:cs typeface="+mn-lt"/>
              </a:rPr>
              <a:t>Add details here</a:t>
            </a:r>
          </a:p>
          <a:p>
            <a:pPr algn="ctr"/>
            <a:endParaRPr lang="en-US" sz="1600"/>
          </a:p>
          <a:p>
            <a:pPr algn="ctr"/>
            <a:r>
              <a:rPr lang="en-US" sz="1600">
                <a:solidFill>
                  <a:schemeClr val="tx1"/>
                </a:solidFill>
              </a:rPr>
              <a:t>Security requirements and obligations for every organization are different, and driven by regulatory requirements, contractual requirements, and corporate policies.  </a:t>
            </a:r>
          </a:p>
          <a:p>
            <a:pPr algn="ctr"/>
            <a:endParaRPr lang="en-US" sz="1600">
              <a:solidFill>
                <a:schemeClr val="tx1"/>
              </a:solidFill>
            </a:endParaRPr>
          </a:p>
          <a:p>
            <a:pPr algn="ctr"/>
            <a:r>
              <a:rPr lang="en-US" sz="1600">
                <a:solidFill>
                  <a:schemeClr val="tx1"/>
                </a:solidFill>
              </a:rPr>
              <a:t>Please summarize the key requirements here, or paste content or links, if applicable.</a:t>
            </a:r>
          </a:p>
          <a:p>
            <a:pPr algn="ctr"/>
            <a:br>
              <a:rPr lang="en-US" sz="1600">
                <a:solidFill>
                  <a:schemeClr val="tx1"/>
                </a:solidFill>
              </a:rPr>
            </a:br>
            <a:r>
              <a:rPr lang="en-US" sz="1600">
                <a:solidFill>
                  <a:schemeClr val="tx1"/>
                </a:solidFill>
              </a:rPr>
              <a:t>(See slide notes for additional information)</a:t>
            </a:r>
          </a:p>
          <a:p>
            <a:pPr algn="ctr"/>
            <a:endParaRPr lang="en-US" sz="1600">
              <a:solidFill>
                <a:schemeClr val="tx1"/>
              </a:solidFill>
            </a:endParaRPr>
          </a:p>
          <a:p>
            <a:pPr algn="ctr"/>
            <a:endParaRPr lang="en-US" sz="1600">
              <a:solidFill>
                <a:schemeClr val="tx1"/>
              </a:solidFill>
            </a:endParaRPr>
          </a:p>
        </p:txBody>
      </p:sp>
      <p:sp>
        <p:nvSpPr>
          <p:cNvPr id="16" name="TextBox 15">
            <a:extLst>
              <a:ext uri="{FF2B5EF4-FFF2-40B4-BE49-F238E27FC236}">
                <a16:creationId xmlns:a16="http://schemas.microsoft.com/office/drawing/2014/main" id="{8E167FF4-B894-48AF-B97B-2B027E9938D6}"/>
              </a:ext>
            </a:extLst>
          </p:cNvPr>
          <p:cNvSpPr txBox="1"/>
          <p:nvPr/>
        </p:nvSpPr>
        <p:spPr>
          <a:xfrm>
            <a:off x="4986338" y="6515100"/>
            <a:ext cx="6748462" cy="307777"/>
          </a:xfrm>
          <a:prstGeom prst="rect">
            <a:avLst/>
          </a:prstGeom>
          <a:noFill/>
        </p:spPr>
        <p:txBody>
          <a:bodyPr wrap="square">
            <a:spAutoFit/>
          </a:bodyPr>
          <a:lstStyle/>
          <a:p>
            <a:pPr algn="r"/>
            <a:r>
              <a:rPr lang="fr-FR" sz="1400">
                <a:hlinkClick r:id="rId3"/>
              </a:rPr>
              <a:t>Microsoft Compliance </a:t>
            </a:r>
            <a:r>
              <a:rPr lang="fr-FR" sz="1400" err="1">
                <a:hlinkClick r:id="rId3"/>
              </a:rPr>
              <a:t>Offerings</a:t>
            </a:r>
            <a:r>
              <a:rPr lang="fr-FR" sz="1400">
                <a:hlinkClick r:id="rId3"/>
              </a:rPr>
              <a:t> | Dynamics 365 | Microsoft Docs</a:t>
            </a:r>
            <a:endParaRPr lang="en-US" sz="1400"/>
          </a:p>
        </p:txBody>
      </p:sp>
    </p:spTree>
    <p:extLst>
      <p:ext uri="{BB962C8B-B14F-4D97-AF65-F5344CB8AC3E}">
        <p14:creationId xmlns:p14="http://schemas.microsoft.com/office/powerpoint/2010/main" val="22217189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4">
            <a:extLst>
              <a:ext uri="{FF2B5EF4-FFF2-40B4-BE49-F238E27FC236}">
                <a16:creationId xmlns:a16="http://schemas.microsoft.com/office/drawing/2014/main" id="{C9D82A8F-AC9B-4CAE-B512-25AAD63562E6}"/>
              </a:ext>
            </a:extLst>
          </p:cNvPr>
          <p:cNvSpPr txBox="1">
            <a:spLocks noGrp="1"/>
          </p:cNvSpPr>
          <p:nvPr>
            <p:ph type="title" idx="4294967295"/>
          </p:nvPr>
        </p:nvSpPr>
        <p:spPr>
          <a:xfrm>
            <a:off x="585216" y="2651888"/>
            <a:ext cx="11206734" cy="1554224"/>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50" normalizeH="0" baseline="0" noProof="0">
                <a:ln w="3175">
                  <a:noFill/>
                </a:ln>
                <a:solidFill>
                  <a:schemeClr val="tx1"/>
                </a:solidFill>
                <a:effectLst/>
                <a:uLnTx/>
                <a:uFillTx/>
                <a:latin typeface="+mj-lt"/>
                <a:ea typeface="+mn-ea"/>
                <a:cs typeface="Segoe UI"/>
              </a:rPr>
              <a:t>Security strategy </a:t>
            </a:r>
            <a:br>
              <a:rPr kumimoji="0" lang="en-US" sz="4400" b="0" i="0" u="none" strike="noStrike" kern="1200" cap="none" spc="-50" normalizeH="0" baseline="0" noProof="0">
                <a:ln w="3175">
                  <a:noFill/>
                </a:ln>
                <a:solidFill>
                  <a:srgbClr val="4CCBED"/>
                </a:solidFill>
                <a:effectLst/>
                <a:uLnTx/>
                <a:uFillTx/>
                <a:latin typeface="+mj-lt"/>
                <a:ea typeface="+mn-ea"/>
                <a:cs typeface="Segoe UI"/>
              </a:rPr>
            </a:br>
            <a:r>
              <a:rPr kumimoji="0" lang="en-US" sz="4400" b="0" i="0" u="none" strike="noStrike" kern="1200" cap="none" spc="-50" normalizeH="0" baseline="0" noProof="0">
                <a:ln w="3175">
                  <a:noFill/>
                </a:ln>
                <a:solidFill>
                  <a:srgbClr val="4CCBED"/>
                </a:solidFill>
                <a:effectLst/>
                <a:uLnTx/>
                <a:uFillTx/>
                <a:latin typeface="+mj-lt"/>
                <a:ea typeface="+mn-ea"/>
                <a:cs typeface="Segoe UI"/>
              </a:rPr>
              <a:t>Implementation (within Dynamics 365)</a:t>
            </a:r>
          </a:p>
        </p:txBody>
      </p:sp>
    </p:spTree>
    <p:extLst>
      <p:ext uri="{BB962C8B-B14F-4D97-AF65-F5344CB8AC3E}">
        <p14:creationId xmlns:p14="http://schemas.microsoft.com/office/powerpoint/2010/main" val="17223798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457200"/>
            <a:ext cx="11018520" cy="553998"/>
          </a:xfrm>
        </p:spPr>
        <p:txBody>
          <a:bodyPr/>
          <a:lstStyle/>
          <a:p>
            <a:r>
              <a:rPr lang="en-US">
                <a:cs typeface="Segoe UI"/>
              </a:rPr>
              <a:t>Role-based security (1/2)</a:t>
            </a:r>
            <a:endParaRPr lang="en-GB">
              <a:cs typeface="Segoe UI"/>
            </a:endParaRP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268197"/>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 rIns="91440" bIns="45720" rtlCol="0" anchor="ctr"/>
            <a:lstStyle/>
            <a:p>
              <a:r>
                <a:rPr lang="en-US" sz="1600">
                  <a:solidFill>
                    <a:schemeClr val="tx1"/>
                  </a:solidFill>
                </a:rPr>
                <a:t>Please describe your plans for effectively and efficiently implementing role-based security within Finance and Operations applications.</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2074460"/>
            <a:ext cx="11277600" cy="4440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rPr>
              <a:t>Add details here</a:t>
            </a:r>
            <a:br>
              <a:rPr lang="en-US" sz="1600">
                <a:solidFill>
                  <a:schemeClr val="tx1"/>
                </a:solidFill>
              </a:rPr>
            </a:br>
            <a:br>
              <a:rPr lang="en-US" sz="1600">
                <a:solidFill>
                  <a:schemeClr val="tx1"/>
                </a:solidFill>
              </a:rPr>
            </a:br>
            <a:r>
              <a:rPr lang="en-US" sz="1600">
                <a:solidFill>
                  <a:schemeClr val="tx1"/>
                </a:solidFill>
              </a:rPr>
              <a:t>(See slide notes for additional information)</a:t>
            </a:r>
          </a:p>
        </p:txBody>
      </p:sp>
      <p:sp>
        <p:nvSpPr>
          <p:cNvPr id="16" name="TextBox 15">
            <a:extLst>
              <a:ext uri="{FF2B5EF4-FFF2-40B4-BE49-F238E27FC236}">
                <a16:creationId xmlns:a16="http://schemas.microsoft.com/office/drawing/2014/main" id="{7A51C690-09D3-41EE-8DF7-95B1AA517137}"/>
              </a:ext>
            </a:extLst>
          </p:cNvPr>
          <p:cNvSpPr txBox="1"/>
          <p:nvPr/>
        </p:nvSpPr>
        <p:spPr>
          <a:xfrm>
            <a:off x="5652407" y="6517566"/>
            <a:ext cx="6082393" cy="307777"/>
          </a:xfrm>
          <a:prstGeom prst="rect">
            <a:avLst/>
          </a:prstGeom>
          <a:noFill/>
        </p:spPr>
        <p:txBody>
          <a:bodyPr wrap="square">
            <a:spAutoFit/>
          </a:bodyPr>
          <a:lstStyle/>
          <a:p>
            <a:pPr algn="r"/>
            <a:r>
              <a:rPr lang="en-US" sz="1400">
                <a:hlinkClick r:id="rId3"/>
              </a:rPr>
              <a:t>Role-based security | Dynamics 365 | Microsoft Docs</a:t>
            </a:r>
            <a:endParaRPr lang="en-US" sz="1400"/>
          </a:p>
        </p:txBody>
      </p:sp>
      <p:sp>
        <p:nvSpPr>
          <p:cNvPr id="5" name="Rectangle: Rounded Corners 4">
            <a:extLst>
              <a:ext uri="{FF2B5EF4-FFF2-40B4-BE49-F238E27FC236}">
                <a16:creationId xmlns:a16="http://schemas.microsoft.com/office/drawing/2014/main" id="{2BCE43B4-7B8C-47E7-AAF2-8374593499E7}"/>
              </a:ext>
            </a:extLst>
          </p:cNvPr>
          <p:cNvSpPr/>
          <p:nvPr/>
        </p:nvSpPr>
        <p:spPr bwMode="auto">
          <a:xfrm>
            <a:off x="11243737" y="203842"/>
            <a:ext cx="720000" cy="720000"/>
          </a:xfrm>
          <a:prstGeom prst="roundRect">
            <a:avLst/>
          </a:prstGeom>
          <a:solidFill>
            <a:srgbClr val="191919"/>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4CCBED"/>
                </a:solidFill>
                <a:effectLst/>
                <a:uLnTx/>
                <a:uFillTx/>
                <a:latin typeface="Segoe UI"/>
                <a:ea typeface="Segoe UI" pitchFamily="34" charset="0"/>
                <a:cs typeface="Segoe UI" pitchFamily="34" charset="0"/>
              </a:rPr>
              <a:t>F&amp;O</a:t>
            </a:r>
          </a:p>
        </p:txBody>
      </p:sp>
    </p:spTree>
    <p:extLst>
      <p:ext uri="{BB962C8B-B14F-4D97-AF65-F5344CB8AC3E}">
        <p14:creationId xmlns:p14="http://schemas.microsoft.com/office/powerpoint/2010/main" val="4771446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457200"/>
            <a:ext cx="10507085" cy="553998"/>
          </a:xfrm>
        </p:spPr>
        <p:txBody>
          <a:bodyPr/>
          <a:lstStyle/>
          <a:p>
            <a:r>
              <a:rPr lang="en-US">
                <a:cs typeface="Segoe UI"/>
              </a:rPr>
              <a:t>Role-based security (2/2) </a:t>
            </a:r>
            <a:endParaRPr lang="en-GB">
              <a:cs typeface="Segoe UI"/>
            </a:endParaRP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268197"/>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Please describe your plans for rolling out role-based security across your organization. </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2074460"/>
            <a:ext cx="11277600" cy="4440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rPr>
              <a:t>Add details here</a:t>
            </a:r>
            <a:br>
              <a:rPr lang="en-US" sz="1600">
                <a:solidFill>
                  <a:schemeClr val="tx1"/>
                </a:solidFill>
              </a:rPr>
            </a:br>
            <a:br>
              <a:rPr lang="en-US" sz="1600">
                <a:solidFill>
                  <a:schemeClr val="tx1"/>
                </a:solidFill>
              </a:rPr>
            </a:br>
            <a:r>
              <a:rPr lang="en-US" sz="1600">
                <a:solidFill>
                  <a:schemeClr val="tx1"/>
                </a:solidFill>
              </a:rPr>
              <a:t>(See slide notes for additional information)</a:t>
            </a:r>
          </a:p>
        </p:txBody>
      </p:sp>
      <p:sp>
        <p:nvSpPr>
          <p:cNvPr id="16" name="TextBox 15">
            <a:extLst>
              <a:ext uri="{FF2B5EF4-FFF2-40B4-BE49-F238E27FC236}">
                <a16:creationId xmlns:a16="http://schemas.microsoft.com/office/drawing/2014/main" id="{7A51C690-09D3-41EE-8DF7-95B1AA517137}"/>
              </a:ext>
            </a:extLst>
          </p:cNvPr>
          <p:cNvSpPr txBox="1"/>
          <p:nvPr/>
        </p:nvSpPr>
        <p:spPr>
          <a:xfrm>
            <a:off x="5652407" y="6517566"/>
            <a:ext cx="6082393" cy="307777"/>
          </a:xfrm>
          <a:prstGeom prst="rect">
            <a:avLst/>
          </a:prstGeom>
          <a:noFill/>
        </p:spPr>
        <p:txBody>
          <a:bodyPr wrap="square">
            <a:spAutoFit/>
          </a:bodyPr>
          <a:lstStyle/>
          <a:p>
            <a:pPr algn="r"/>
            <a:r>
              <a:rPr lang="en-US" sz="1400">
                <a:hlinkClick r:id="rId3"/>
              </a:rPr>
              <a:t>Role-based security | Dynamics 365 | Microsoft Docs</a:t>
            </a:r>
            <a:endParaRPr lang="en-US" sz="1400"/>
          </a:p>
        </p:txBody>
      </p:sp>
      <p:sp>
        <p:nvSpPr>
          <p:cNvPr id="5" name="Rectangle: Rounded Corners 4">
            <a:extLst>
              <a:ext uri="{FF2B5EF4-FFF2-40B4-BE49-F238E27FC236}">
                <a16:creationId xmlns:a16="http://schemas.microsoft.com/office/drawing/2014/main" id="{267210A9-0496-466B-AB98-30E17F3E7CDD}"/>
              </a:ext>
            </a:extLst>
          </p:cNvPr>
          <p:cNvSpPr/>
          <p:nvPr/>
        </p:nvSpPr>
        <p:spPr bwMode="auto">
          <a:xfrm>
            <a:off x="11243737" y="203842"/>
            <a:ext cx="720000" cy="720000"/>
          </a:xfrm>
          <a:prstGeom prst="roundRect">
            <a:avLst/>
          </a:prstGeom>
          <a:solidFill>
            <a:srgbClr val="191919"/>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4CCBED"/>
                </a:solidFill>
                <a:effectLst/>
                <a:uLnTx/>
                <a:uFillTx/>
                <a:latin typeface="Segoe UI"/>
                <a:ea typeface="Segoe UI" pitchFamily="34" charset="0"/>
                <a:cs typeface="Segoe UI" pitchFamily="34" charset="0"/>
              </a:rPr>
              <a:t>F&amp;O</a:t>
            </a:r>
          </a:p>
        </p:txBody>
      </p:sp>
    </p:spTree>
    <p:extLst>
      <p:ext uri="{BB962C8B-B14F-4D97-AF65-F5344CB8AC3E}">
        <p14:creationId xmlns:p14="http://schemas.microsoft.com/office/powerpoint/2010/main" val="34781657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457200"/>
            <a:ext cx="10516512" cy="553998"/>
          </a:xfrm>
        </p:spPr>
        <p:txBody>
          <a:bodyPr/>
          <a:lstStyle/>
          <a:p>
            <a:r>
              <a:rPr lang="en-US">
                <a:cs typeface="Segoe UI"/>
              </a:rPr>
              <a:t>Segregation of Duties and XDS</a:t>
            </a:r>
            <a:endParaRPr lang="en-GB">
              <a:cs typeface="Segoe UI"/>
            </a:endParaRP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268197"/>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Please describe your plans for using advanced Finance and Operations features such as Segregation of Duties and extensible Data Security policies. </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2074460"/>
            <a:ext cx="11277600" cy="4440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rPr>
              <a:t>Add details here</a:t>
            </a:r>
            <a:br>
              <a:rPr lang="en-US" sz="1600">
                <a:solidFill>
                  <a:schemeClr val="tx1"/>
                </a:solidFill>
              </a:rPr>
            </a:br>
            <a:br>
              <a:rPr lang="en-US" sz="1600">
                <a:solidFill>
                  <a:schemeClr val="tx1"/>
                </a:solidFill>
              </a:rPr>
            </a:br>
            <a:r>
              <a:rPr lang="en-US" sz="1600">
                <a:solidFill>
                  <a:schemeClr val="tx1"/>
                </a:solidFill>
              </a:rPr>
              <a:t>(See slide notes for additional information)</a:t>
            </a:r>
          </a:p>
        </p:txBody>
      </p:sp>
      <p:sp>
        <p:nvSpPr>
          <p:cNvPr id="5" name="Rectangle: Rounded Corners 4">
            <a:extLst>
              <a:ext uri="{FF2B5EF4-FFF2-40B4-BE49-F238E27FC236}">
                <a16:creationId xmlns:a16="http://schemas.microsoft.com/office/drawing/2014/main" id="{41C377A5-C1EA-4247-AE6F-78FF9E261A0D}"/>
              </a:ext>
            </a:extLst>
          </p:cNvPr>
          <p:cNvSpPr/>
          <p:nvPr/>
        </p:nvSpPr>
        <p:spPr bwMode="auto">
          <a:xfrm>
            <a:off x="11243737" y="203842"/>
            <a:ext cx="720000" cy="720000"/>
          </a:xfrm>
          <a:prstGeom prst="roundRect">
            <a:avLst/>
          </a:prstGeom>
          <a:solidFill>
            <a:srgbClr val="191919"/>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4CCBED"/>
                </a:solidFill>
                <a:effectLst/>
                <a:uLnTx/>
                <a:uFillTx/>
                <a:latin typeface="Segoe UI"/>
                <a:ea typeface="Segoe UI" pitchFamily="34" charset="0"/>
                <a:cs typeface="Segoe UI" pitchFamily="34" charset="0"/>
              </a:rPr>
              <a:t>F&amp;O</a:t>
            </a:r>
          </a:p>
        </p:txBody>
      </p:sp>
    </p:spTree>
    <p:extLst>
      <p:ext uri="{BB962C8B-B14F-4D97-AF65-F5344CB8AC3E}">
        <p14:creationId xmlns:p14="http://schemas.microsoft.com/office/powerpoint/2010/main" val="31576613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457200"/>
            <a:ext cx="10563646" cy="553998"/>
          </a:xfrm>
        </p:spPr>
        <p:txBody>
          <a:bodyPr/>
          <a:lstStyle/>
          <a:p>
            <a:r>
              <a:rPr lang="en-US">
                <a:cs typeface="Segoe UI"/>
              </a:rPr>
              <a:t>Worker data </a:t>
            </a:r>
            <a:endParaRPr lang="en-GB">
              <a:cs typeface="Segoe UI"/>
            </a:endParaRP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268197"/>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What is the strategy for maintaining worker data in Dynamics 365 Human Resources?</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2074460"/>
            <a:ext cx="11277600" cy="4440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rPr>
              <a:t>Add details here</a:t>
            </a:r>
            <a:br>
              <a:rPr lang="en-US" sz="1600">
                <a:solidFill>
                  <a:schemeClr val="tx1"/>
                </a:solidFill>
              </a:rPr>
            </a:br>
            <a:br>
              <a:rPr lang="en-US" sz="1600">
                <a:solidFill>
                  <a:schemeClr val="tx1"/>
                </a:solidFill>
              </a:rPr>
            </a:br>
            <a:r>
              <a:rPr lang="en-US" sz="1600">
                <a:solidFill>
                  <a:schemeClr val="tx1"/>
                </a:solidFill>
              </a:rPr>
              <a:t>(See slide notes for additional information)</a:t>
            </a:r>
          </a:p>
        </p:txBody>
      </p:sp>
      <p:sp>
        <p:nvSpPr>
          <p:cNvPr id="7" name="Rectangle: Rounded Corners 6">
            <a:extLst>
              <a:ext uri="{FF2B5EF4-FFF2-40B4-BE49-F238E27FC236}">
                <a16:creationId xmlns:a16="http://schemas.microsoft.com/office/drawing/2014/main" id="{C1408932-F1BF-42A2-87AA-55FC9CDE4B28}"/>
              </a:ext>
            </a:extLst>
          </p:cNvPr>
          <p:cNvSpPr/>
          <p:nvPr/>
        </p:nvSpPr>
        <p:spPr bwMode="auto">
          <a:xfrm>
            <a:off x="11243737" y="203842"/>
            <a:ext cx="720000" cy="720000"/>
          </a:xfrm>
          <a:prstGeom prst="roundRect">
            <a:avLst/>
          </a:prstGeom>
          <a:solidFill>
            <a:srgbClr val="191919"/>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4CCBED"/>
                </a:solidFill>
                <a:effectLst/>
                <a:uLnTx/>
                <a:uFillTx/>
                <a:latin typeface="Segoe UI"/>
                <a:ea typeface="Segoe UI" pitchFamily="34" charset="0"/>
                <a:cs typeface="Segoe UI" pitchFamily="34" charset="0"/>
              </a:rPr>
              <a:t>HR</a:t>
            </a:r>
          </a:p>
        </p:txBody>
      </p:sp>
    </p:spTree>
    <p:extLst>
      <p:ext uri="{BB962C8B-B14F-4D97-AF65-F5344CB8AC3E}">
        <p14:creationId xmlns:p14="http://schemas.microsoft.com/office/powerpoint/2010/main" val="11540099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457200"/>
            <a:ext cx="11018520" cy="553998"/>
          </a:xfrm>
        </p:spPr>
        <p:txBody>
          <a:bodyPr/>
          <a:lstStyle/>
          <a:p>
            <a:r>
              <a:rPr lang="en-US"/>
              <a:t>Basics</a:t>
            </a:r>
          </a:p>
        </p:txBody>
      </p:sp>
      <p:cxnSp>
        <p:nvCxnSpPr>
          <p:cNvPr id="18" name="Straight Connector 17">
            <a:extLst>
              <a:ext uri="{FF2B5EF4-FFF2-40B4-BE49-F238E27FC236}">
                <a16:creationId xmlns:a16="http://schemas.microsoft.com/office/drawing/2014/main" id="{48F84AE3-EE4D-4F9F-81AE-E9938E931DB9}"/>
              </a:ext>
            </a:extLst>
          </p:cNvPr>
          <p:cNvCxnSpPr>
            <a:cxnSpLocks/>
          </p:cNvCxnSpPr>
          <p:nvPr/>
        </p:nvCxnSpPr>
        <p:spPr>
          <a:xfrm>
            <a:off x="457200" y="1903982"/>
            <a:ext cx="11277600" cy="0"/>
          </a:xfrm>
          <a:prstGeom prst="line">
            <a:avLst/>
          </a:prstGeom>
          <a:noFill/>
          <a:ln w="3175">
            <a:solidFill>
              <a:schemeClr val="bg1">
                <a:lumMod val="75000"/>
              </a:schemeClr>
            </a:solidFill>
            <a:prstDash val="dash"/>
          </a:ln>
        </p:spPr>
      </p:cxnSp>
      <p:sp>
        <p:nvSpPr>
          <p:cNvPr id="20" name="Rectangle 19">
            <a:extLst>
              <a:ext uri="{FF2B5EF4-FFF2-40B4-BE49-F238E27FC236}">
                <a16:creationId xmlns:a16="http://schemas.microsoft.com/office/drawing/2014/main" id="{8993611A-AF72-44E5-BB38-BEB9A5F83D66}"/>
              </a:ext>
            </a:extLst>
          </p:cNvPr>
          <p:cNvSpPr/>
          <p:nvPr/>
        </p:nvSpPr>
        <p:spPr>
          <a:xfrm>
            <a:off x="889128" y="1189176"/>
            <a:ext cx="5921870" cy="5923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How many users do you have (at target)?</a:t>
            </a:r>
          </a:p>
        </p:txBody>
      </p:sp>
      <p:sp>
        <p:nvSpPr>
          <p:cNvPr id="32" name="Rectangle 31">
            <a:extLst>
              <a:ext uri="{FF2B5EF4-FFF2-40B4-BE49-F238E27FC236}">
                <a16:creationId xmlns:a16="http://schemas.microsoft.com/office/drawing/2014/main" id="{E06E5741-A7BE-432F-9C81-EB16FA620F50}"/>
              </a:ext>
            </a:extLst>
          </p:cNvPr>
          <p:cNvSpPr/>
          <p:nvPr/>
        </p:nvSpPr>
        <p:spPr>
          <a:xfrm>
            <a:off x="6810998" y="4150274"/>
            <a:ext cx="4923802" cy="108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Rectangle 32">
            <a:extLst>
              <a:ext uri="{FF2B5EF4-FFF2-40B4-BE49-F238E27FC236}">
                <a16:creationId xmlns:a16="http://schemas.microsoft.com/office/drawing/2014/main" id="{4E6833D9-B8E8-4E22-A3C4-9785A26C6D3C}"/>
              </a:ext>
            </a:extLst>
          </p:cNvPr>
          <p:cNvSpPr/>
          <p:nvPr/>
        </p:nvSpPr>
        <p:spPr>
          <a:xfrm>
            <a:off x="6810998" y="1193159"/>
            <a:ext cx="4923802" cy="613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Rectangle 21">
            <a:extLst>
              <a:ext uri="{FF2B5EF4-FFF2-40B4-BE49-F238E27FC236}">
                <a16:creationId xmlns:a16="http://schemas.microsoft.com/office/drawing/2014/main" id="{BF53A79F-5D46-4CAA-AE0E-F3A81FB91CFE}"/>
              </a:ext>
            </a:extLst>
          </p:cNvPr>
          <p:cNvSpPr/>
          <p:nvPr/>
        </p:nvSpPr>
        <p:spPr>
          <a:xfrm>
            <a:off x="6810998" y="2016363"/>
            <a:ext cx="4923802" cy="19218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cxnSp>
        <p:nvCxnSpPr>
          <p:cNvPr id="23" name="Straight Connector 22">
            <a:extLst>
              <a:ext uri="{FF2B5EF4-FFF2-40B4-BE49-F238E27FC236}">
                <a16:creationId xmlns:a16="http://schemas.microsoft.com/office/drawing/2014/main" id="{8196B560-76E9-4D9A-AE5E-9474F8AFEE3E}"/>
              </a:ext>
            </a:extLst>
          </p:cNvPr>
          <p:cNvCxnSpPr>
            <a:cxnSpLocks/>
          </p:cNvCxnSpPr>
          <p:nvPr/>
        </p:nvCxnSpPr>
        <p:spPr>
          <a:xfrm>
            <a:off x="457200" y="4036084"/>
            <a:ext cx="11277600" cy="0"/>
          </a:xfrm>
          <a:prstGeom prst="line">
            <a:avLst/>
          </a:prstGeom>
          <a:noFill/>
          <a:ln w="3175">
            <a:solidFill>
              <a:schemeClr val="bg1">
                <a:lumMod val="75000"/>
              </a:schemeClr>
            </a:solidFill>
            <a:prstDash val="dash"/>
          </a:ln>
        </p:spPr>
      </p:cxnSp>
      <p:sp>
        <p:nvSpPr>
          <p:cNvPr id="28" name="Rectangle 27">
            <a:extLst>
              <a:ext uri="{FF2B5EF4-FFF2-40B4-BE49-F238E27FC236}">
                <a16:creationId xmlns:a16="http://schemas.microsoft.com/office/drawing/2014/main" id="{DCC1AF7F-DA09-431D-81B7-38BFD7F263CE}"/>
              </a:ext>
            </a:extLst>
          </p:cNvPr>
          <p:cNvSpPr/>
          <p:nvPr/>
        </p:nvSpPr>
        <p:spPr>
          <a:xfrm>
            <a:off x="889128" y="2016364"/>
            <a:ext cx="5921870" cy="14062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How many distinct patterns have you identified for your </a:t>
            </a:r>
            <a:br>
              <a:rPr kumimoji="0" lang="en-US" sz="1600" b="0" i="0" u="none" strike="noStrike" kern="1200" cap="none" spc="0" normalizeH="0" baseline="0" noProof="0">
                <a:ln>
                  <a:noFill/>
                </a:ln>
                <a:solidFill>
                  <a:srgbClr val="000000"/>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mn-ea"/>
                <a:cs typeface="+mn-cs"/>
              </a:rPr>
              <a:t>security model?</a:t>
            </a:r>
          </a:p>
          <a:p>
            <a:pPr marL="0" marR="0" lvl="0" indent="0" algn="l" defTabSz="914367" rtl="0" eaLnBrk="1" fontAlgn="auto" latinLnBrk="0" hangingPunct="1">
              <a:lnSpc>
                <a:spcPct val="100000"/>
              </a:lnSpc>
              <a:spcBef>
                <a:spcPts val="60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a:ea typeface="+mn-ea"/>
                <a:cs typeface="+mn-cs"/>
              </a:rPr>
              <a:t>How many users are there in each pattern?</a:t>
            </a:r>
          </a:p>
          <a:p>
            <a:pPr marL="0" marR="0" lvl="0" indent="0" algn="l" defTabSz="914367" rtl="0" eaLnBrk="1" fontAlgn="auto" latinLnBrk="0" hangingPunct="1">
              <a:lnSpc>
                <a:spcPct val="100000"/>
              </a:lnSpc>
              <a:spcBef>
                <a:spcPts val="60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a:ea typeface="+mn-ea"/>
                <a:cs typeface="+mn-cs"/>
              </a:rPr>
              <a:t>Are there users that have more complex security requirements that the rest? </a:t>
            </a:r>
          </a:p>
          <a:p>
            <a:pPr marL="0" marR="0" lvl="0" indent="0" algn="l" defTabSz="914367" rtl="0" eaLnBrk="1" fontAlgn="auto" latinLnBrk="0" hangingPunct="1">
              <a:lnSpc>
                <a:spcPct val="100000"/>
              </a:lnSpc>
              <a:spcBef>
                <a:spcPts val="60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a:ea typeface="+mn-ea"/>
                <a:cs typeface="+mn-cs"/>
              </a:rPr>
              <a:t>E.g., X users inherit permissions from security roles and are dispatched in business units. Y users are a combination of X + manager hierarchy, etc.</a:t>
            </a:r>
            <a:endParaRPr kumimoji="0" lang="en-US" sz="1600" b="0" i="1" u="none" strike="noStrike" kern="1200" cap="none" spc="0" normalizeH="0" baseline="0" noProof="0">
              <a:ln>
                <a:noFill/>
              </a:ln>
              <a:solidFill>
                <a:srgbClr val="000000"/>
              </a:solidFill>
              <a:effectLst/>
              <a:uLnTx/>
              <a:uFillTx/>
              <a:latin typeface="Segoe UI"/>
              <a:ea typeface="+mn-ea"/>
              <a:cs typeface="+mn-cs"/>
            </a:endParaRPr>
          </a:p>
        </p:txBody>
      </p:sp>
      <p:grpSp>
        <p:nvGrpSpPr>
          <p:cNvPr id="29" name="Group 28">
            <a:extLst>
              <a:ext uri="{FF2B5EF4-FFF2-40B4-BE49-F238E27FC236}">
                <a16:creationId xmlns:a16="http://schemas.microsoft.com/office/drawing/2014/main" id="{4BA75E2D-968A-479B-8368-DD1C898C96F0}"/>
              </a:ext>
            </a:extLst>
          </p:cNvPr>
          <p:cNvGrpSpPr/>
          <p:nvPr/>
        </p:nvGrpSpPr>
        <p:grpSpPr>
          <a:xfrm>
            <a:off x="457200" y="2107979"/>
            <a:ext cx="326112" cy="326112"/>
            <a:chOff x="115497" y="1864737"/>
            <a:chExt cx="461744" cy="461744"/>
          </a:xfrm>
          <a:solidFill>
            <a:schemeClr val="tx2"/>
          </a:solidFill>
        </p:grpSpPr>
        <p:sp>
          <p:nvSpPr>
            <p:cNvPr id="30" name="Freeform: Shape 29">
              <a:extLst>
                <a:ext uri="{FF2B5EF4-FFF2-40B4-BE49-F238E27FC236}">
                  <a16:creationId xmlns:a16="http://schemas.microsoft.com/office/drawing/2014/main" id="{C91609CC-3B18-4045-B4E5-404FF491C3C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Graphic 77">
              <a:extLst>
                <a:ext uri="{FF2B5EF4-FFF2-40B4-BE49-F238E27FC236}">
                  <a16:creationId xmlns:a16="http://schemas.microsoft.com/office/drawing/2014/main" id="{CF50B9A7-C1BD-4362-B01E-14036459A9EC}"/>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48" name="Rectangle 47">
            <a:extLst>
              <a:ext uri="{FF2B5EF4-FFF2-40B4-BE49-F238E27FC236}">
                <a16:creationId xmlns:a16="http://schemas.microsoft.com/office/drawing/2014/main" id="{D9A700DD-2AE2-4BB9-B26E-54BE5DCA3E41}"/>
              </a:ext>
            </a:extLst>
          </p:cNvPr>
          <p:cNvSpPr/>
          <p:nvPr/>
        </p:nvSpPr>
        <p:spPr>
          <a:xfrm>
            <a:off x="889128" y="4148245"/>
            <a:ext cx="5921870" cy="1151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When you reviewed the business requirements, did you challenge if the need was to restrict access or to filter data?</a:t>
            </a:r>
          </a:p>
          <a:p>
            <a:pPr marL="0" marR="0" lvl="0" indent="0" algn="l" defTabSz="914367" rtl="0" eaLnBrk="1" fontAlgn="auto" latinLnBrk="0" hangingPunct="1">
              <a:lnSpc>
                <a:spcPct val="100000"/>
              </a:lnSpc>
              <a:spcBef>
                <a:spcPts val="60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Segoe UI"/>
                <a:ea typeface="+mn-ea"/>
                <a:cs typeface="+mn-cs"/>
              </a:rPr>
              <a:t>Goal is to understand if the requirements come from a desire of better UX (that be achieved through view filters) or are about restricting visibility.</a:t>
            </a:r>
            <a:endParaRPr kumimoji="0" lang="en-US" sz="1600" b="0" i="1" u="none" strike="noStrike" kern="1200" cap="none" spc="0" normalizeH="0" baseline="0" noProof="0">
              <a:ln>
                <a:noFill/>
              </a:ln>
              <a:solidFill>
                <a:srgbClr val="000000"/>
              </a:solidFill>
              <a:effectLst/>
              <a:uLnTx/>
              <a:uFillTx/>
              <a:latin typeface="Segoe UI"/>
              <a:ea typeface="+mn-ea"/>
              <a:cs typeface="+mn-cs"/>
            </a:endParaRPr>
          </a:p>
        </p:txBody>
      </p:sp>
      <p:grpSp>
        <p:nvGrpSpPr>
          <p:cNvPr id="53" name="Group 52">
            <a:extLst>
              <a:ext uri="{FF2B5EF4-FFF2-40B4-BE49-F238E27FC236}">
                <a16:creationId xmlns:a16="http://schemas.microsoft.com/office/drawing/2014/main" id="{C0CDEDD2-54F4-454B-AC07-93D03D76D847}"/>
              </a:ext>
            </a:extLst>
          </p:cNvPr>
          <p:cNvGrpSpPr/>
          <p:nvPr/>
        </p:nvGrpSpPr>
        <p:grpSpPr>
          <a:xfrm>
            <a:off x="457200" y="4247032"/>
            <a:ext cx="326112" cy="326112"/>
            <a:chOff x="115497" y="1864737"/>
            <a:chExt cx="461744" cy="461744"/>
          </a:xfrm>
          <a:solidFill>
            <a:schemeClr val="tx2"/>
          </a:solidFill>
        </p:grpSpPr>
        <p:sp>
          <p:nvSpPr>
            <p:cNvPr id="54" name="Freeform: Shape 53">
              <a:extLst>
                <a:ext uri="{FF2B5EF4-FFF2-40B4-BE49-F238E27FC236}">
                  <a16:creationId xmlns:a16="http://schemas.microsoft.com/office/drawing/2014/main" id="{863E5E44-BA90-4739-ABD3-6F6B64B8148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Graphic 77">
              <a:extLst>
                <a:ext uri="{FF2B5EF4-FFF2-40B4-BE49-F238E27FC236}">
                  <a16:creationId xmlns:a16="http://schemas.microsoft.com/office/drawing/2014/main" id="{527CED89-888F-4D36-8E27-BBAB8FD7064C}"/>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6" name="Group 55">
            <a:extLst>
              <a:ext uri="{FF2B5EF4-FFF2-40B4-BE49-F238E27FC236}">
                <a16:creationId xmlns:a16="http://schemas.microsoft.com/office/drawing/2014/main" id="{1CDFA9B9-C3C0-4D77-A1D5-B6FF095B3553}"/>
              </a:ext>
            </a:extLst>
          </p:cNvPr>
          <p:cNvGrpSpPr/>
          <p:nvPr/>
        </p:nvGrpSpPr>
        <p:grpSpPr>
          <a:xfrm>
            <a:off x="457200" y="1326108"/>
            <a:ext cx="326112" cy="326112"/>
            <a:chOff x="115497" y="1864737"/>
            <a:chExt cx="461744" cy="461744"/>
          </a:xfrm>
          <a:solidFill>
            <a:schemeClr val="tx2"/>
          </a:solidFill>
        </p:grpSpPr>
        <p:sp>
          <p:nvSpPr>
            <p:cNvPr id="57" name="Freeform: Shape 56">
              <a:extLst>
                <a:ext uri="{FF2B5EF4-FFF2-40B4-BE49-F238E27FC236}">
                  <a16:creationId xmlns:a16="http://schemas.microsoft.com/office/drawing/2014/main" id="{3C2E7D6B-5B91-40E2-8905-124D340EE8A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Graphic 77">
              <a:extLst>
                <a:ext uri="{FF2B5EF4-FFF2-40B4-BE49-F238E27FC236}">
                  <a16:creationId xmlns:a16="http://schemas.microsoft.com/office/drawing/2014/main" id="{B206FD09-0FD5-4019-A122-9E264D0F91E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Rectangle: Rounded Corners 2">
            <a:extLst>
              <a:ext uri="{FF2B5EF4-FFF2-40B4-BE49-F238E27FC236}">
                <a16:creationId xmlns:a16="http://schemas.microsoft.com/office/drawing/2014/main" id="{5D0ACFF2-CC0F-4377-8D61-5564B008396C}"/>
              </a:ext>
            </a:extLst>
          </p:cNvPr>
          <p:cNvSpPr/>
          <p:nvPr/>
        </p:nvSpPr>
        <p:spPr bwMode="auto">
          <a:xfrm>
            <a:off x="11243737" y="203842"/>
            <a:ext cx="720000" cy="720000"/>
          </a:xfrm>
          <a:prstGeom prst="roundRect">
            <a:avLst/>
          </a:prstGeom>
          <a:solidFill>
            <a:srgbClr val="191919"/>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4CCBED"/>
                </a:solidFill>
                <a:effectLst/>
                <a:uLnTx/>
                <a:uFillTx/>
                <a:latin typeface="Segoe UI"/>
                <a:ea typeface="Segoe UI" pitchFamily="34" charset="0"/>
                <a:cs typeface="Segoe UI" pitchFamily="34" charset="0"/>
              </a:rPr>
              <a:t>CE</a:t>
            </a:r>
          </a:p>
        </p:txBody>
      </p:sp>
      <p:sp>
        <p:nvSpPr>
          <p:cNvPr id="39" name="Rectangle 38">
            <a:extLst>
              <a:ext uri="{FF2B5EF4-FFF2-40B4-BE49-F238E27FC236}">
                <a16:creationId xmlns:a16="http://schemas.microsoft.com/office/drawing/2014/main" id="{C6F42727-2AE4-4EDF-B61F-B474FED5A18E}"/>
              </a:ext>
            </a:extLst>
          </p:cNvPr>
          <p:cNvSpPr/>
          <p:nvPr/>
        </p:nvSpPr>
        <p:spPr>
          <a:xfrm>
            <a:off x="889128" y="5398185"/>
            <a:ext cx="5921870" cy="1002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How are you planning to organize records and users around the hierarchy of business units?</a:t>
            </a:r>
          </a:p>
        </p:txBody>
      </p:sp>
      <p:sp>
        <p:nvSpPr>
          <p:cNvPr id="41" name="Rectangle 40">
            <a:extLst>
              <a:ext uri="{FF2B5EF4-FFF2-40B4-BE49-F238E27FC236}">
                <a16:creationId xmlns:a16="http://schemas.microsoft.com/office/drawing/2014/main" id="{01525AC4-6850-4B0A-B363-72E11363CDE6}"/>
              </a:ext>
            </a:extLst>
          </p:cNvPr>
          <p:cNvSpPr/>
          <p:nvPr/>
        </p:nvSpPr>
        <p:spPr>
          <a:xfrm>
            <a:off x="6810998" y="5402184"/>
            <a:ext cx="4923802" cy="10383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2" name="Group 41">
            <a:extLst>
              <a:ext uri="{FF2B5EF4-FFF2-40B4-BE49-F238E27FC236}">
                <a16:creationId xmlns:a16="http://schemas.microsoft.com/office/drawing/2014/main" id="{20734C93-0D06-48FC-B158-F2D7EAF69CFE}"/>
              </a:ext>
            </a:extLst>
          </p:cNvPr>
          <p:cNvGrpSpPr/>
          <p:nvPr/>
        </p:nvGrpSpPr>
        <p:grpSpPr>
          <a:xfrm>
            <a:off x="457200" y="5523259"/>
            <a:ext cx="326112" cy="326112"/>
            <a:chOff x="115497" y="1864737"/>
            <a:chExt cx="461744" cy="461744"/>
          </a:xfrm>
          <a:solidFill>
            <a:schemeClr val="tx2"/>
          </a:solidFill>
        </p:grpSpPr>
        <p:sp>
          <p:nvSpPr>
            <p:cNvPr id="43" name="Freeform: Shape 42">
              <a:extLst>
                <a:ext uri="{FF2B5EF4-FFF2-40B4-BE49-F238E27FC236}">
                  <a16:creationId xmlns:a16="http://schemas.microsoft.com/office/drawing/2014/main" id="{89005234-FF1F-4E61-8FCA-018802DAAE7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Graphic 77">
              <a:extLst>
                <a:ext uri="{FF2B5EF4-FFF2-40B4-BE49-F238E27FC236}">
                  <a16:creationId xmlns:a16="http://schemas.microsoft.com/office/drawing/2014/main" id="{494363BE-5AC4-402E-A8C0-5FC26889633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45" name="Straight Connector 44">
            <a:extLst>
              <a:ext uri="{FF2B5EF4-FFF2-40B4-BE49-F238E27FC236}">
                <a16:creationId xmlns:a16="http://schemas.microsoft.com/office/drawing/2014/main" id="{DE94E34A-C329-40D0-8E17-89BD032D9AF3}"/>
              </a:ext>
            </a:extLst>
          </p:cNvPr>
          <p:cNvCxnSpPr>
            <a:cxnSpLocks/>
          </p:cNvCxnSpPr>
          <p:nvPr/>
        </p:nvCxnSpPr>
        <p:spPr>
          <a:xfrm>
            <a:off x="457200" y="5318345"/>
            <a:ext cx="11277600" cy="0"/>
          </a:xfrm>
          <a:prstGeom prst="line">
            <a:avLst/>
          </a:prstGeom>
          <a:noFill/>
          <a:ln w="3175">
            <a:solidFill>
              <a:schemeClr val="bg1">
                <a:lumMod val="75000"/>
              </a:schemeClr>
            </a:solidFill>
            <a:prstDash val="dash"/>
          </a:ln>
        </p:spPr>
      </p:cxnSp>
    </p:spTree>
    <p:extLst>
      <p:ext uri="{BB962C8B-B14F-4D97-AF65-F5344CB8AC3E}">
        <p14:creationId xmlns:p14="http://schemas.microsoft.com/office/powerpoint/2010/main" val="3488358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457200"/>
            <a:ext cx="10507085" cy="553998"/>
          </a:xfrm>
        </p:spPr>
        <p:txBody>
          <a:bodyPr/>
          <a:lstStyle/>
          <a:p>
            <a:r>
              <a:rPr lang="en-US"/>
              <a:t>Security roles</a:t>
            </a:r>
          </a:p>
        </p:txBody>
      </p:sp>
      <p:cxnSp>
        <p:nvCxnSpPr>
          <p:cNvPr id="18" name="Straight Connector 17">
            <a:extLst>
              <a:ext uri="{FF2B5EF4-FFF2-40B4-BE49-F238E27FC236}">
                <a16:creationId xmlns:a16="http://schemas.microsoft.com/office/drawing/2014/main" id="{48F84AE3-EE4D-4F9F-81AE-E9938E931DB9}"/>
              </a:ext>
            </a:extLst>
          </p:cNvPr>
          <p:cNvCxnSpPr>
            <a:cxnSpLocks/>
          </p:cNvCxnSpPr>
          <p:nvPr/>
        </p:nvCxnSpPr>
        <p:spPr>
          <a:xfrm>
            <a:off x="458128" y="2161486"/>
            <a:ext cx="11277600" cy="0"/>
          </a:xfrm>
          <a:prstGeom prst="line">
            <a:avLst/>
          </a:prstGeom>
          <a:noFill/>
          <a:ln w="3175">
            <a:solidFill>
              <a:schemeClr val="bg1">
                <a:lumMod val="75000"/>
              </a:schemeClr>
            </a:solidFill>
            <a:prstDash val="dash"/>
          </a:ln>
        </p:spPr>
      </p:cxnSp>
      <p:sp>
        <p:nvSpPr>
          <p:cNvPr id="20" name="Rectangle 19">
            <a:extLst>
              <a:ext uri="{FF2B5EF4-FFF2-40B4-BE49-F238E27FC236}">
                <a16:creationId xmlns:a16="http://schemas.microsoft.com/office/drawing/2014/main" id="{8993611A-AF72-44E5-BB38-BEB9A5F83D66}"/>
              </a:ext>
            </a:extLst>
          </p:cNvPr>
          <p:cNvSpPr/>
          <p:nvPr/>
        </p:nvSpPr>
        <p:spPr>
          <a:xfrm>
            <a:off x="889128" y="1189176"/>
            <a:ext cx="5921870"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spcBef>
                <a:spcPts val="600"/>
              </a:spcBef>
            </a:pPr>
            <a:r>
              <a:rPr lang="en-US" sz="1600">
                <a:solidFill>
                  <a:schemeClr val="tx1"/>
                </a:solidFill>
              </a:rPr>
              <a:t>How many security roles do you plan to use?</a:t>
            </a:r>
          </a:p>
          <a:p>
            <a:pPr>
              <a:spcBef>
                <a:spcPts val="600"/>
              </a:spcBef>
            </a:pPr>
            <a:r>
              <a:rPr lang="en-US" sz="1400" i="1">
                <a:solidFill>
                  <a:schemeClr val="tx1"/>
                </a:solidFill>
              </a:rPr>
              <a:t>Have you tried to rationalize them or reduce the number?</a:t>
            </a:r>
          </a:p>
        </p:txBody>
      </p:sp>
      <p:grpSp>
        <p:nvGrpSpPr>
          <p:cNvPr id="21" name="Group 20">
            <a:extLst>
              <a:ext uri="{FF2B5EF4-FFF2-40B4-BE49-F238E27FC236}">
                <a16:creationId xmlns:a16="http://schemas.microsoft.com/office/drawing/2014/main" id="{CABCF65C-E2F3-4E15-9B5E-0A4DC1E41291}"/>
              </a:ext>
            </a:extLst>
          </p:cNvPr>
          <p:cNvGrpSpPr/>
          <p:nvPr/>
        </p:nvGrpSpPr>
        <p:grpSpPr>
          <a:xfrm>
            <a:off x="457200" y="1326108"/>
            <a:ext cx="326112" cy="326112"/>
            <a:chOff x="115497" y="1864737"/>
            <a:chExt cx="461744" cy="461744"/>
          </a:xfrm>
          <a:solidFill>
            <a:schemeClr val="tx2"/>
          </a:solidFill>
        </p:grpSpPr>
        <p:sp>
          <p:nvSpPr>
            <p:cNvPr id="25" name="Freeform: Shape 24">
              <a:extLst>
                <a:ext uri="{FF2B5EF4-FFF2-40B4-BE49-F238E27FC236}">
                  <a16:creationId xmlns:a16="http://schemas.microsoft.com/office/drawing/2014/main" id="{7C25D6A2-1AC5-4C5E-A77A-61D3F6FE31C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Graphic 77">
              <a:extLst>
                <a:ext uri="{FF2B5EF4-FFF2-40B4-BE49-F238E27FC236}">
                  <a16:creationId xmlns:a16="http://schemas.microsoft.com/office/drawing/2014/main" id="{CBB5F4E7-227B-41A2-8495-CB7799C6331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3" name="Rectangle 32">
            <a:extLst>
              <a:ext uri="{FF2B5EF4-FFF2-40B4-BE49-F238E27FC236}">
                <a16:creationId xmlns:a16="http://schemas.microsoft.com/office/drawing/2014/main" id="{4E6833D9-B8E8-4E22-A3C4-9785A26C6D3C}"/>
              </a:ext>
            </a:extLst>
          </p:cNvPr>
          <p:cNvSpPr/>
          <p:nvPr/>
        </p:nvSpPr>
        <p:spPr>
          <a:xfrm>
            <a:off x="6810998" y="1193159"/>
            <a:ext cx="4923802"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ctr"/>
          <a:lstStyle/>
          <a:p>
            <a:endParaRPr lang="en-US" sz="1600">
              <a:solidFill>
                <a:schemeClr val="tx1"/>
              </a:solidFill>
            </a:endParaRPr>
          </a:p>
        </p:txBody>
      </p:sp>
      <p:sp>
        <p:nvSpPr>
          <p:cNvPr id="22" name="Rectangle 21">
            <a:extLst>
              <a:ext uri="{FF2B5EF4-FFF2-40B4-BE49-F238E27FC236}">
                <a16:creationId xmlns:a16="http://schemas.microsoft.com/office/drawing/2014/main" id="{BF53A79F-5D46-4CAA-AE0E-F3A81FB91CFE}"/>
              </a:ext>
            </a:extLst>
          </p:cNvPr>
          <p:cNvSpPr/>
          <p:nvPr/>
        </p:nvSpPr>
        <p:spPr>
          <a:xfrm>
            <a:off x="6810998" y="2248681"/>
            <a:ext cx="4923802"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ctr"/>
          <a:lstStyle/>
          <a:p>
            <a:endParaRPr lang="en-US" sz="1600">
              <a:solidFill>
                <a:schemeClr val="tx1"/>
              </a:solidFill>
            </a:endParaRPr>
          </a:p>
        </p:txBody>
      </p:sp>
      <p:sp>
        <p:nvSpPr>
          <p:cNvPr id="28" name="Rectangle 27">
            <a:extLst>
              <a:ext uri="{FF2B5EF4-FFF2-40B4-BE49-F238E27FC236}">
                <a16:creationId xmlns:a16="http://schemas.microsoft.com/office/drawing/2014/main" id="{DCC1AF7F-DA09-431D-81B7-38BFD7F263CE}"/>
              </a:ext>
            </a:extLst>
          </p:cNvPr>
          <p:cNvSpPr/>
          <p:nvPr/>
        </p:nvSpPr>
        <p:spPr>
          <a:xfrm>
            <a:off x="889128" y="2257112"/>
            <a:ext cx="5921870"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n-US" sz="1600">
                <a:solidFill>
                  <a:schemeClr val="tx1"/>
                </a:solidFill>
              </a:rPr>
              <a:t>How do you plan to implement security roles?</a:t>
            </a:r>
          </a:p>
        </p:txBody>
      </p:sp>
      <p:grpSp>
        <p:nvGrpSpPr>
          <p:cNvPr id="29" name="Group 28">
            <a:extLst>
              <a:ext uri="{FF2B5EF4-FFF2-40B4-BE49-F238E27FC236}">
                <a16:creationId xmlns:a16="http://schemas.microsoft.com/office/drawing/2014/main" id="{4BA75E2D-968A-479B-8368-DD1C898C96F0}"/>
              </a:ext>
            </a:extLst>
          </p:cNvPr>
          <p:cNvGrpSpPr/>
          <p:nvPr/>
        </p:nvGrpSpPr>
        <p:grpSpPr>
          <a:xfrm>
            <a:off x="451840" y="2399186"/>
            <a:ext cx="326112" cy="326112"/>
            <a:chOff x="115497" y="1864737"/>
            <a:chExt cx="461744" cy="461744"/>
          </a:xfrm>
          <a:solidFill>
            <a:schemeClr val="tx2"/>
          </a:solidFill>
        </p:grpSpPr>
        <p:sp>
          <p:nvSpPr>
            <p:cNvPr id="30" name="Freeform: Shape 29">
              <a:extLst>
                <a:ext uri="{FF2B5EF4-FFF2-40B4-BE49-F238E27FC236}">
                  <a16:creationId xmlns:a16="http://schemas.microsoft.com/office/drawing/2014/main" id="{C91609CC-3B18-4045-B4E5-404FF491C3C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1" name="Graphic 77">
              <a:extLst>
                <a:ext uri="{FF2B5EF4-FFF2-40B4-BE49-F238E27FC236}">
                  <a16:creationId xmlns:a16="http://schemas.microsoft.com/office/drawing/2014/main" id="{CF50B9A7-C1BD-4362-B01E-14036459A9EC}"/>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27" name="Rectangle 26">
            <a:extLst>
              <a:ext uri="{FF2B5EF4-FFF2-40B4-BE49-F238E27FC236}">
                <a16:creationId xmlns:a16="http://schemas.microsoft.com/office/drawing/2014/main" id="{FC1AC417-B3FF-4A51-95B1-5409543D116C}"/>
              </a:ext>
            </a:extLst>
          </p:cNvPr>
          <p:cNvSpPr/>
          <p:nvPr/>
        </p:nvSpPr>
        <p:spPr>
          <a:xfrm>
            <a:off x="6804710" y="3304203"/>
            <a:ext cx="4923802"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ctr"/>
          <a:lstStyle/>
          <a:p>
            <a:endParaRPr lang="en-US" sz="1600">
              <a:solidFill>
                <a:schemeClr val="tx1"/>
              </a:solidFill>
            </a:endParaRPr>
          </a:p>
        </p:txBody>
      </p:sp>
      <p:sp>
        <p:nvSpPr>
          <p:cNvPr id="39" name="Rectangle 38">
            <a:extLst>
              <a:ext uri="{FF2B5EF4-FFF2-40B4-BE49-F238E27FC236}">
                <a16:creationId xmlns:a16="http://schemas.microsoft.com/office/drawing/2014/main" id="{480E33F0-B9FA-49AA-A9FE-265B45B2E9F2}"/>
              </a:ext>
            </a:extLst>
          </p:cNvPr>
          <p:cNvSpPr/>
          <p:nvPr/>
        </p:nvSpPr>
        <p:spPr>
          <a:xfrm>
            <a:off x="865105" y="3304203"/>
            <a:ext cx="5921870"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n-US" sz="1600">
                <a:solidFill>
                  <a:schemeClr val="tx1"/>
                </a:solidFill>
              </a:rPr>
              <a:t>How do you plan to manage user accounts with elevated privileges?</a:t>
            </a:r>
          </a:p>
        </p:txBody>
      </p:sp>
      <p:grpSp>
        <p:nvGrpSpPr>
          <p:cNvPr id="41" name="Group 40">
            <a:extLst>
              <a:ext uri="{FF2B5EF4-FFF2-40B4-BE49-F238E27FC236}">
                <a16:creationId xmlns:a16="http://schemas.microsoft.com/office/drawing/2014/main" id="{2D1051F8-9996-4481-8CA8-FB2F9A7E0091}"/>
              </a:ext>
            </a:extLst>
          </p:cNvPr>
          <p:cNvGrpSpPr/>
          <p:nvPr/>
        </p:nvGrpSpPr>
        <p:grpSpPr>
          <a:xfrm>
            <a:off x="434105" y="3447147"/>
            <a:ext cx="326112" cy="326112"/>
            <a:chOff x="115497" y="1864737"/>
            <a:chExt cx="461744" cy="461744"/>
          </a:xfrm>
          <a:solidFill>
            <a:schemeClr val="tx2"/>
          </a:solidFill>
        </p:grpSpPr>
        <p:sp>
          <p:nvSpPr>
            <p:cNvPr id="42" name="Freeform: Shape 41">
              <a:extLst>
                <a:ext uri="{FF2B5EF4-FFF2-40B4-BE49-F238E27FC236}">
                  <a16:creationId xmlns:a16="http://schemas.microsoft.com/office/drawing/2014/main" id="{CFC181D6-8E84-4D96-BFDE-B2424D796DE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3" name="Graphic 77">
              <a:extLst>
                <a:ext uri="{FF2B5EF4-FFF2-40B4-BE49-F238E27FC236}">
                  <a16:creationId xmlns:a16="http://schemas.microsoft.com/office/drawing/2014/main" id="{EFBAA7E4-D09B-4972-B5EA-76AAEBCD699C}"/>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4" name="Rectangle 43">
            <a:extLst>
              <a:ext uri="{FF2B5EF4-FFF2-40B4-BE49-F238E27FC236}">
                <a16:creationId xmlns:a16="http://schemas.microsoft.com/office/drawing/2014/main" id="{C1456736-2A86-4584-81DC-8868C7658A0A}"/>
              </a:ext>
            </a:extLst>
          </p:cNvPr>
          <p:cNvSpPr/>
          <p:nvPr/>
        </p:nvSpPr>
        <p:spPr>
          <a:xfrm>
            <a:off x="6804710" y="5415246"/>
            <a:ext cx="4923802"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endParaRPr lang="en-US" sz="1600">
              <a:solidFill>
                <a:schemeClr val="tx1"/>
              </a:solidFill>
            </a:endParaRPr>
          </a:p>
        </p:txBody>
      </p:sp>
      <p:sp>
        <p:nvSpPr>
          <p:cNvPr id="45" name="Rectangle 44">
            <a:extLst>
              <a:ext uri="{FF2B5EF4-FFF2-40B4-BE49-F238E27FC236}">
                <a16:creationId xmlns:a16="http://schemas.microsoft.com/office/drawing/2014/main" id="{994E0780-3217-4D90-A84E-EB6F3DCDFB9F}"/>
              </a:ext>
            </a:extLst>
          </p:cNvPr>
          <p:cNvSpPr/>
          <p:nvPr/>
        </p:nvSpPr>
        <p:spPr>
          <a:xfrm>
            <a:off x="872321" y="5384693"/>
            <a:ext cx="5921870" cy="994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sz="1600">
                <a:solidFill>
                  <a:schemeClr val="tx1"/>
                </a:solidFill>
              </a:rPr>
              <a:t>What is your strategy to update the security roles as you roll out new functionalities?</a:t>
            </a:r>
          </a:p>
        </p:txBody>
      </p:sp>
      <p:grpSp>
        <p:nvGrpSpPr>
          <p:cNvPr id="46" name="Group 45">
            <a:extLst>
              <a:ext uri="{FF2B5EF4-FFF2-40B4-BE49-F238E27FC236}">
                <a16:creationId xmlns:a16="http://schemas.microsoft.com/office/drawing/2014/main" id="{31D829DB-C7D2-479E-B963-248CEAF4569D}"/>
              </a:ext>
            </a:extLst>
          </p:cNvPr>
          <p:cNvGrpSpPr/>
          <p:nvPr/>
        </p:nvGrpSpPr>
        <p:grpSpPr>
          <a:xfrm>
            <a:off x="434105" y="5477034"/>
            <a:ext cx="326112" cy="326112"/>
            <a:chOff x="115497" y="1864737"/>
            <a:chExt cx="461744" cy="461744"/>
          </a:xfrm>
          <a:solidFill>
            <a:schemeClr val="tx2"/>
          </a:solidFill>
        </p:grpSpPr>
        <p:sp>
          <p:nvSpPr>
            <p:cNvPr id="47" name="Freeform: Shape 46">
              <a:extLst>
                <a:ext uri="{FF2B5EF4-FFF2-40B4-BE49-F238E27FC236}">
                  <a16:creationId xmlns:a16="http://schemas.microsoft.com/office/drawing/2014/main" id="{7E0D01E4-3C04-49D4-9392-4BA01BF3187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9" name="Graphic 77">
              <a:extLst>
                <a:ext uri="{FF2B5EF4-FFF2-40B4-BE49-F238E27FC236}">
                  <a16:creationId xmlns:a16="http://schemas.microsoft.com/office/drawing/2014/main" id="{92D634F7-4871-4DBE-98F0-68D693F5ACD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50" name="Straight Connector 49">
            <a:extLst>
              <a:ext uri="{FF2B5EF4-FFF2-40B4-BE49-F238E27FC236}">
                <a16:creationId xmlns:a16="http://schemas.microsoft.com/office/drawing/2014/main" id="{98F42755-F08B-4ADE-9BF5-C9F779515682}"/>
              </a:ext>
            </a:extLst>
          </p:cNvPr>
          <p:cNvCxnSpPr>
            <a:cxnSpLocks/>
          </p:cNvCxnSpPr>
          <p:nvPr/>
        </p:nvCxnSpPr>
        <p:spPr>
          <a:xfrm>
            <a:off x="458128" y="3221607"/>
            <a:ext cx="11277600" cy="0"/>
          </a:xfrm>
          <a:prstGeom prst="line">
            <a:avLst/>
          </a:prstGeom>
          <a:noFill/>
          <a:ln w="3175">
            <a:solidFill>
              <a:schemeClr val="bg1">
                <a:lumMod val="75000"/>
              </a:schemeClr>
            </a:solidFill>
            <a:prstDash val="dash"/>
          </a:ln>
        </p:spPr>
      </p:cxnSp>
      <p:cxnSp>
        <p:nvCxnSpPr>
          <p:cNvPr id="51" name="Straight Connector 50">
            <a:extLst>
              <a:ext uri="{FF2B5EF4-FFF2-40B4-BE49-F238E27FC236}">
                <a16:creationId xmlns:a16="http://schemas.microsoft.com/office/drawing/2014/main" id="{D9DA196F-49CF-4494-A498-668034F10A31}"/>
              </a:ext>
            </a:extLst>
          </p:cNvPr>
          <p:cNvCxnSpPr>
            <a:cxnSpLocks/>
          </p:cNvCxnSpPr>
          <p:nvPr/>
        </p:nvCxnSpPr>
        <p:spPr>
          <a:xfrm>
            <a:off x="434105" y="5331830"/>
            <a:ext cx="11277600" cy="0"/>
          </a:xfrm>
          <a:prstGeom prst="line">
            <a:avLst/>
          </a:prstGeom>
          <a:noFill/>
          <a:ln w="3175">
            <a:solidFill>
              <a:schemeClr val="bg1">
                <a:lumMod val="75000"/>
              </a:schemeClr>
            </a:solidFill>
            <a:prstDash val="dash"/>
          </a:ln>
        </p:spPr>
      </p:cxnSp>
      <p:sp>
        <p:nvSpPr>
          <p:cNvPr id="3" name="Rectangle: Rounded Corners 2">
            <a:extLst>
              <a:ext uri="{FF2B5EF4-FFF2-40B4-BE49-F238E27FC236}">
                <a16:creationId xmlns:a16="http://schemas.microsoft.com/office/drawing/2014/main" id="{CE1AA064-F735-447D-8198-DDD0CFFAD310}"/>
              </a:ext>
            </a:extLst>
          </p:cNvPr>
          <p:cNvSpPr/>
          <p:nvPr/>
        </p:nvSpPr>
        <p:spPr bwMode="auto">
          <a:xfrm>
            <a:off x="11243737" y="203842"/>
            <a:ext cx="720000" cy="720000"/>
          </a:xfrm>
          <a:prstGeom prst="roundRect">
            <a:avLst/>
          </a:prstGeom>
          <a:solidFill>
            <a:srgbClr val="191919"/>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4CCBED"/>
                </a:solidFill>
                <a:effectLst/>
                <a:uLnTx/>
                <a:uFillTx/>
                <a:latin typeface="Segoe UI"/>
                <a:ea typeface="Segoe UI" pitchFamily="34" charset="0"/>
                <a:cs typeface="Segoe UI" pitchFamily="34" charset="0"/>
              </a:rPr>
              <a:t>CE</a:t>
            </a:r>
          </a:p>
        </p:txBody>
      </p:sp>
      <p:sp>
        <p:nvSpPr>
          <p:cNvPr id="34" name="Rectangle 33">
            <a:extLst>
              <a:ext uri="{FF2B5EF4-FFF2-40B4-BE49-F238E27FC236}">
                <a16:creationId xmlns:a16="http://schemas.microsoft.com/office/drawing/2014/main" id="{0C1ECC9C-2966-4284-95AA-3BD811CAC01A}"/>
              </a:ext>
            </a:extLst>
          </p:cNvPr>
          <p:cNvSpPr/>
          <p:nvPr/>
        </p:nvSpPr>
        <p:spPr>
          <a:xfrm>
            <a:off x="6810998" y="4359725"/>
            <a:ext cx="4923802" cy="90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ctr"/>
          <a:lstStyle/>
          <a:p>
            <a:endParaRPr lang="en-US" sz="1600">
              <a:solidFill>
                <a:schemeClr val="tx1"/>
              </a:solidFill>
            </a:endParaRPr>
          </a:p>
        </p:txBody>
      </p:sp>
      <p:sp>
        <p:nvSpPr>
          <p:cNvPr id="48" name="Rectangle 47">
            <a:extLst>
              <a:ext uri="{FF2B5EF4-FFF2-40B4-BE49-F238E27FC236}">
                <a16:creationId xmlns:a16="http://schemas.microsoft.com/office/drawing/2014/main" id="{7DA71E65-0EE9-4A25-B440-53180605EC7F}"/>
              </a:ext>
            </a:extLst>
          </p:cNvPr>
          <p:cNvSpPr/>
          <p:nvPr/>
        </p:nvSpPr>
        <p:spPr>
          <a:xfrm>
            <a:off x="865105" y="4359639"/>
            <a:ext cx="5921870"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n-US" sz="1600">
                <a:solidFill>
                  <a:schemeClr val="tx1"/>
                </a:solidFill>
              </a:rPr>
              <a:t>How are you planning to monitor assigned security roles and privileges?</a:t>
            </a:r>
          </a:p>
        </p:txBody>
      </p:sp>
      <p:grpSp>
        <p:nvGrpSpPr>
          <p:cNvPr id="52" name="Group 51">
            <a:extLst>
              <a:ext uri="{FF2B5EF4-FFF2-40B4-BE49-F238E27FC236}">
                <a16:creationId xmlns:a16="http://schemas.microsoft.com/office/drawing/2014/main" id="{35CD6303-8D33-4E7A-BFAB-BE869397A3C6}"/>
              </a:ext>
            </a:extLst>
          </p:cNvPr>
          <p:cNvGrpSpPr/>
          <p:nvPr/>
        </p:nvGrpSpPr>
        <p:grpSpPr>
          <a:xfrm>
            <a:off x="434105" y="4502583"/>
            <a:ext cx="326112" cy="326112"/>
            <a:chOff x="115497" y="1864737"/>
            <a:chExt cx="461744" cy="461744"/>
          </a:xfrm>
          <a:solidFill>
            <a:schemeClr val="tx2"/>
          </a:solidFill>
        </p:grpSpPr>
        <p:sp>
          <p:nvSpPr>
            <p:cNvPr id="53" name="Freeform: Shape 52">
              <a:extLst>
                <a:ext uri="{FF2B5EF4-FFF2-40B4-BE49-F238E27FC236}">
                  <a16:creationId xmlns:a16="http://schemas.microsoft.com/office/drawing/2014/main" id="{C3D8CA8E-AED0-49FA-B78D-14ECEE49300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4" name="Graphic 77">
              <a:extLst>
                <a:ext uri="{FF2B5EF4-FFF2-40B4-BE49-F238E27FC236}">
                  <a16:creationId xmlns:a16="http://schemas.microsoft.com/office/drawing/2014/main" id="{7BDB5627-14BD-496E-8289-EB5B6C5B0FB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55" name="Straight Connector 54">
            <a:extLst>
              <a:ext uri="{FF2B5EF4-FFF2-40B4-BE49-F238E27FC236}">
                <a16:creationId xmlns:a16="http://schemas.microsoft.com/office/drawing/2014/main" id="{61564CEB-3C02-439E-8B98-573ED0056349}"/>
              </a:ext>
            </a:extLst>
          </p:cNvPr>
          <p:cNvCxnSpPr>
            <a:cxnSpLocks/>
          </p:cNvCxnSpPr>
          <p:nvPr/>
        </p:nvCxnSpPr>
        <p:spPr>
          <a:xfrm>
            <a:off x="458128" y="4287533"/>
            <a:ext cx="11277600" cy="0"/>
          </a:xfrm>
          <a:prstGeom prst="line">
            <a:avLst/>
          </a:prstGeom>
          <a:noFill/>
          <a:ln w="3175">
            <a:solidFill>
              <a:schemeClr val="bg1">
                <a:lumMod val="75000"/>
              </a:schemeClr>
            </a:solidFill>
            <a:prstDash val="dash"/>
          </a:ln>
        </p:spPr>
      </p:cxnSp>
    </p:spTree>
    <p:extLst>
      <p:ext uri="{BB962C8B-B14F-4D97-AF65-F5344CB8AC3E}">
        <p14:creationId xmlns:p14="http://schemas.microsoft.com/office/powerpoint/2010/main" val="3529203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3" y="471714"/>
            <a:ext cx="11018520" cy="553998"/>
          </a:xfrm>
        </p:spPr>
        <p:txBody>
          <a:bodyPr/>
          <a:lstStyle/>
          <a:p>
            <a:r>
              <a:rPr lang="en-US"/>
              <a:t>Success by Design</a:t>
            </a:r>
          </a:p>
        </p:txBody>
      </p:sp>
      <p:sp>
        <p:nvSpPr>
          <p:cNvPr id="21" name="Rectangle 20">
            <a:extLst>
              <a:ext uri="{FF2B5EF4-FFF2-40B4-BE49-F238E27FC236}">
                <a16:creationId xmlns:a16="http://schemas.microsoft.com/office/drawing/2014/main" id="{15247862-C2AD-40E7-960A-592F6E2A2B27}"/>
              </a:ext>
            </a:extLst>
          </p:cNvPr>
          <p:cNvSpPr/>
          <p:nvPr/>
        </p:nvSpPr>
        <p:spPr>
          <a:xfrm>
            <a:off x="497511" y="972969"/>
            <a:ext cx="11431531" cy="461665"/>
          </a:xfrm>
          <a:prstGeom prst="rect">
            <a:avLst/>
          </a:prstGeom>
        </p:spPr>
        <p:txBody>
          <a:bodyPr wrap="square">
            <a:spAutoFit/>
          </a:bodyPr>
          <a:lstStyle/>
          <a:p>
            <a:r>
              <a:rPr lang="en-US" sz="2400">
                <a:ln w="3175">
                  <a:noFill/>
                </a:ln>
                <a:solidFill>
                  <a:schemeClr val="accent1"/>
                </a:solidFill>
                <a:cs typeface="Segoe UI" pitchFamily="34" charset="0"/>
              </a:rPr>
              <a:t>Our success framework</a:t>
            </a:r>
          </a:p>
        </p:txBody>
      </p:sp>
      <p:cxnSp>
        <p:nvCxnSpPr>
          <p:cNvPr id="108" name="Straight Connector 107">
            <a:extLst>
              <a:ext uri="{FF2B5EF4-FFF2-40B4-BE49-F238E27FC236}">
                <a16:creationId xmlns:a16="http://schemas.microsoft.com/office/drawing/2014/main" id="{940BDD52-E2E4-4BED-B0C7-A59AAC352D97}"/>
              </a:ext>
            </a:extLst>
          </p:cNvPr>
          <p:cNvCxnSpPr>
            <a:cxnSpLocks/>
          </p:cNvCxnSpPr>
          <p:nvPr/>
        </p:nvCxnSpPr>
        <p:spPr>
          <a:xfrm>
            <a:off x="1647547" y="2815205"/>
            <a:ext cx="5538304" cy="0"/>
          </a:xfrm>
          <a:prstGeom prst="line">
            <a:avLst/>
          </a:prstGeom>
          <a:noFill/>
          <a:ln w="3175">
            <a:solidFill>
              <a:schemeClr val="bg1">
                <a:lumMod val="85000"/>
              </a:schemeClr>
            </a:solidFill>
            <a:prstDash val="dash"/>
          </a:ln>
        </p:spPr>
      </p:cxnSp>
      <p:cxnSp>
        <p:nvCxnSpPr>
          <p:cNvPr id="110" name="Straight Connector 109">
            <a:extLst>
              <a:ext uri="{FF2B5EF4-FFF2-40B4-BE49-F238E27FC236}">
                <a16:creationId xmlns:a16="http://schemas.microsoft.com/office/drawing/2014/main" id="{5620C0C8-DA0B-4BA3-AC09-84734C8E8B5C}"/>
              </a:ext>
            </a:extLst>
          </p:cNvPr>
          <p:cNvCxnSpPr>
            <a:cxnSpLocks/>
          </p:cNvCxnSpPr>
          <p:nvPr/>
        </p:nvCxnSpPr>
        <p:spPr>
          <a:xfrm>
            <a:off x="1647547" y="4829023"/>
            <a:ext cx="5538304" cy="0"/>
          </a:xfrm>
          <a:prstGeom prst="line">
            <a:avLst/>
          </a:prstGeom>
          <a:noFill/>
          <a:ln w="3175">
            <a:solidFill>
              <a:schemeClr val="bg1">
                <a:lumMod val="85000"/>
              </a:schemeClr>
            </a:solidFill>
            <a:prstDash val="dash"/>
          </a:ln>
        </p:spPr>
      </p:cxnSp>
      <p:grpSp>
        <p:nvGrpSpPr>
          <p:cNvPr id="18" name="Group 17">
            <a:extLst>
              <a:ext uri="{FF2B5EF4-FFF2-40B4-BE49-F238E27FC236}">
                <a16:creationId xmlns:a16="http://schemas.microsoft.com/office/drawing/2014/main" id="{D93D151E-1C7E-41D3-B466-850E279D563C}"/>
              </a:ext>
            </a:extLst>
          </p:cNvPr>
          <p:cNvGrpSpPr/>
          <p:nvPr/>
        </p:nvGrpSpPr>
        <p:grpSpPr>
          <a:xfrm>
            <a:off x="1614208" y="2965966"/>
            <a:ext cx="5514791" cy="1689296"/>
            <a:chOff x="1501140" y="2848018"/>
            <a:chExt cx="5775960" cy="1723170"/>
          </a:xfrm>
        </p:grpSpPr>
        <p:sp>
          <p:nvSpPr>
            <p:cNvPr id="13" name="Rectangle 12">
              <a:extLst>
                <a:ext uri="{FF2B5EF4-FFF2-40B4-BE49-F238E27FC236}">
                  <a16:creationId xmlns:a16="http://schemas.microsoft.com/office/drawing/2014/main" id="{DF55EDC2-5401-438D-A6F5-08071D2628F2}"/>
                </a:ext>
              </a:extLst>
            </p:cNvPr>
            <p:cNvSpPr/>
            <p:nvPr/>
          </p:nvSpPr>
          <p:spPr>
            <a:xfrm>
              <a:off x="1501140" y="2848018"/>
              <a:ext cx="5775960" cy="73165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784338">
                <a:spcBef>
                  <a:spcPct val="0"/>
                </a:spcBef>
                <a:spcAft>
                  <a:spcPct val="35000"/>
                </a:spcAft>
              </a:pPr>
              <a:r>
                <a:rPr lang="en-US" sz="1961">
                  <a:solidFill>
                    <a:schemeClr val="tx1"/>
                  </a:solidFill>
                </a:rPr>
                <a:t>The framework is designed around three core principles </a:t>
              </a:r>
            </a:p>
          </p:txBody>
        </p:sp>
        <p:sp>
          <p:nvSpPr>
            <p:cNvPr id="14" name="Rectangle 13">
              <a:extLst>
                <a:ext uri="{FF2B5EF4-FFF2-40B4-BE49-F238E27FC236}">
                  <a16:creationId xmlns:a16="http://schemas.microsoft.com/office/drawing/2014/main" id="{37575196-25AE-42C2-A5B1-7F6C4F348016}"/>
                </a:ext>
              </a:extLst>
            </p:cNvPr>
            <p:cNvSpPr/>
            <p:nvPr/>
          </p:nvSpPr>
          <p:spPr>
            <a:xfrm>
              <a:off x="1592580" y="3581201"/>
              <a:ext cx="5684520" cy="989987"/>
            </a:xfrm>
            <a:prstGeom prst="rect">
              <a:avLst/>
            </a:prstGeom>
            <a:noFill/>
            <a:ln>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spAutoFit/>
            </a:bodyPr>
            <a:lstStyle/>
            <a:p>
              <a:pPr marL="224097" lvl="1" indent="-224097" defTabSz="610041">
                <a:spcBef>
                  <a:spcPct val="0"/>
                </a:spcBef>
                <a:spcAft>
                  <a:spcPts val="588"/>
                </a:spcAft>
                <a:buChar char="•"/>
              </a:pPr>
              <a:r>
                <a:rPr lang="en-US" sz="1765">
                  <a:solidFill>
                    <a:schemeClr val="tx1"/>
                  </a:solidFill>
                </a:rPr>
                <a:t>Early Discovery</a:t>
              </a:r>
            </a:p>
            <a:p>
              <a:pPr marL="224097" lvl="1" indent="-224097" defTabSz="610041">
                <a:spcBef>
                  <a:spcPct val="0"/>
                </a:spcBef>
                <a:spcAft>
                  <a:spcPts val="588"/>
                </a:spcAft>
                <a:buChar char="•"/>
              </a:pPr>
              <a:r>
                <a:rPr lang="en-US" sz="1765">
                  <a:solidFill>
                    <a:schemeClr val="tx1"/>
                  </a:solidFill>
                </a:rPr>
                <a:t>Proactive Guidance </a:t>
              </a:r>
            </a:p>
            <a:p>
              <a:pPr marL="224097" lvl="1" indent="-224097" defTabSz="610041">
                <a:spcBef>
                  <a:spcPct val="0"/>
                </a:spcBef>
                <a:spcAft>
                  <a:spcPts val="588"/>
                </a:spcAft>
                <a:buChar char="•"/>
              </a:pPr>
              <a:r>
                <a:rPr lang="en-US" sz="1765">
                  <a:solidFill>
                    <a:schemeClr val="tx1"/>
                  </a:solidFill>
                </a:rPr>
                <a:t>Predictable Success</a:t>
              </a:r>
            </a:p>
          </p:txBody>
        </p:sp>
      </p:grpSp>
      <p:sp>
        <p:nvSpPr>
          <p:cNvPr id="52" name="Oval 51">
            <a:extLst>
              <a:ext uri="{FF2B5EF4-FFF2-40B4-BE49-F238E27FC236}">
                <a16:creationId xmlns:a16="http://schemas.microsoft.com/office/drawing/2014/main" id="{66D22106-37EB-4F14-A05E-8100125726E7}"/>
              </a:ext>
            </a:extLst>
          </p:cNvPr>
          <p:cNvSpPr/>
          <p:nvPr/>
        </p:nvSpPr>
        <p:spPr>
          <a:xfrm>
            <a:off x="619314" y="2964786"/>
            <a:ext cx="780599" cy="780599"/>
          </a:xfrm>
          <a:prstGeom prst="ellipse">
            <a:avLst/>
          </a:prstGeom>
          <a:solidFill>
            <a:schemeClr val="tx2"/>
          </a:solidFill>
        </p:spPr>
        <p:txBody>
          <a:bodyPr wrap="square" lIns="0" tIns="0" rIns="0" bIns="0" rtlCol="0" anchor="ctr">
            <a:noAutofit/>
          </a:bodyPr>
          <a:lstStyle/>
          <a:p>
            <a:pPr algn="ctr"/>
            <a:endParaRPr lang="en-US" sz="1765">
              <a:latin typeface="Segoe UI"/>
            </a:endParaRPr>
          </a:p>
        </p:txBody>
      </p:sp>
      <p:sp>
        <p:nvSpPr>
          <p:cNvPr id="15" name="Rectangle 14">
            <a:extLst>
              <a:ext uri="{FF2B5EF4-FFF2-40B4-BE49-F238E27FC236}">
                <a16:creationId xmlns:a16="http://schemas.microsoft.com/office/drawing/2014/main" id="{8B788170-FA75-4EF9-B4A8-4BC93CC9CDEA}"/>
              </a:ext>
            </a:extLst>
          </p:cNvPr>
          <p:cNvSpPr/>
          <p:nvPr/>
        </p:nvSpPr>
        <p:spPr>
          <a:xfrm>
            <a:off x="1647546" y="4988262"/>
            <a:ext cx="5514791" cy="105036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784338">
              <a:spcBef>
                <a:spcPct val="0"/>
              </a:spcBef>
              <a:spcAft>
                <a:spcPct val="35000"/>
              </a:spcAft>
            </a:pPr>
            <a:r>
              <a:rPr lang="en-US" sz="1961">
                <a:solidFill>
                  <a:schemeClr val="tx1"/>
                </a:solidFill>
              </a:rPr>
              <a:t>Success by Design brings you the learnings and experiences from thousands of customer cloud deployments to make your journey to cloud smoother, faster and successful</a:t>
            </a:r>
          </a:p>
        </p:txBody>
      </p:sp>
      <p:sp>
        <p:nvSpPr>
          <p:cNvPr id="53" name="Oval 52">
            <a:extLst>
              <a:ext uri="{FF2B5EF4-FFF2-40B4-BE49-F238E27FC236}">
                <a16:creationId xmlns:a16="http://schemas.microsoft.com/office/drawing/2014/main" id="{319C0DD1-70F5-4A9E-8D10-39FA7EC07DAF}"/>
              </a:ext>
            </a:extLst>
          </p:cNvPr>
          <p:cNvSpPr/>
          <p:nvPr/>
        </p:nvSpPr>
        <p:spPr>
          <a:xfrm>
            <a:off x="619314" y="4915914"/>
            <a:ext cx="780599" cy="780600"/>
          </a:xfrm>
          <a:prstGeom prst="ellipse">
            <a:avLst/>
          </a:prstGeom>
          <a:solidFill>
            <a:schemeClr val="tx2"/>
          </a:solidFill>
        </p:spPr>
        <p:txBody>
          <a:bodyPr wrap="square" lIns="0" tIns="0" rIns="0" bIns="0" rtlCol="0" anchor="ctr">
            <a:noAutofit/>
          </a:bodyPr>
          <a:lstStyle/>
          <a:p>
            <a:pPr algn="ctr"/>
            <a:endParaRPr lang="en-US" sz="1765">
              <a:latin typeface="Segoe UI"/>
            </a:endParaRPr>
          </a:p>
        </p:txBody>
      </p:sp>
      <p:sp>
        <p:nvSpPr>
          <p:cNvPr id="12" name="Rectangle 11">
            <a:extLst>
              <a:ext uri="{FF2B5EF4-FFF2-40B4-BE49-F238E27FC236}">
                <a16:creationId xmlns:a16="http://schemas.microsoft.com/office/drawing/2014/main" id="{0C040E89-E4CA-4171-90DC-ACB6421550B6}"/>
              </a:ext>
            </a:extLst>
          </p:cNvPr>
          <p:cNvSpPr/>
          <p:nvPr/>
        </p:nvSpPr>
        <p:spPr>
          <a:xfrm>
            <a:off x="1647546" y="1940126"/>
            <a:ext cx="5514792" cy="71727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784338">
              <a:spcBef>
                <a:spcPct val="0"/>
              </a:spcBef>
              <a:spcAft>
                <a:spcPct val="35000"/>
              </a:spcAft>
            </a:pPr>
            <a:r>
              <a:rPr lang="en-US" sz="1961">
                <a:solidFill>
                  <a:schemeClr val="tx1"/>
                </a:solidFill>
              </a:rPr>
              <a:t>Success by Design is our FastTrack framework for service delivery</a:t>
            </a:r>
          </a:p>
        </p:txBody>
      </p:sp>
      <p:sp>
        <p:nvSpPr>
          <p:cNvPr id="19" name="Oval 18">
            <a:extLst>
              <a:ext uri="{FF2B5EF4-FFF2-40B4-BE49-F238E27FC236}">
                <a16:creationId xmlns:a16="http://schemas.microsoft.com/office/drawing/2014/main" id="{86EEF643-7D0B-4E1A-B09B-36E89847D64E}"/>
              </a:ext>
            </a:extLst>
          </p:cNvPr>
          <p:cNvSpPr/>
          <p:nvPr/>
        </p:nvSpPr>
        <p:spPr>
          <a:xfrm>
            <a:off x="619314" y="1886615"/>
            <a:ext cx="780599" cy="780599"/>
          </a:xfrm>
          <a:prstGeom prst="ellipse">
            <a:avLst/>
          </a:prstGeom>
          <a:solidFill>
            <a:schemeClr val="tx2"/>
          </a:solidFill>
        </p:spPr>
        <p:txBody>
          <a:bodyPr wrap="square" lIns="0" tIns="0" rIns="0" bIns="0" rtlCol="0" anchor="ctr">
            <a:noAutofit/>
          </a:bodyPr>
          <a:lstStyle/>
          <a:p>
            <a:pPr algn="ctr"/>
            <a:endParaRPr lang="en-US" sz="1765">
              <a:latin typeface="Segoe UI"/>
            </a:endParaRPr>
          </a:p>
        </p:txBody>
      </p:sp>
      <p:grpSp>
        <p:nvGrpSpPr>
          <p:cNvPr id="3" name="Group 2">
            <a:extLst>
              <a:ext uri="{FF2B5EF4-FFF2-40B4-BE49-F238E27FC236}">
                <a16:creationId xmlns:a16="http://schemas.microsoft.com/office/drawing/2014/main" id="{65A60699-AF40-4C95-89AA-365867D09A84}"/>
              </a:ext>
              <a:ext uri="{C183D7F6-B498-43B3-948B-1728B52AA6E4}">
                <adec:decorative xmlns:adec="http://schemas.microsoft.com/office/drawing/2017/decorative" val="1"/>
              </a:ext>
            </a:extLst>
          </p:cNvPr>
          <p:cNvGrpSpPr/>
          <p:nvPr/>
        </p:nvGrpSpPr>
        <p:grpSpPr>
          <a:xfrm>
            <a:off x="7406640" y="1564446"/>
            <a:ext cx="4324922" cy="4292412"/>
            <a:chOff x="7451471" y="6064989"/>
            <a:chExt cx="4324922" cy="4292412"/>
          </a:xfrm>
        </p:grpSpPr>
        <p:sp>
          <p:nvSpPr>
            <p:cNvPr id="61" name="Freeform 5">
              <a:extLst>
                <a:ext uri="{FF2B5EF4-FFF2-40B4-BE49-F238E27FC236}">
                  <a16:creationId xmlns:a16="http://schemas.microsoft.com/office/drawing/2014/main" id="{8958E916-F0A4-476B-BF89-FFAACBECE388}"/>
                </a:ext>
              </a:extLst>
            </p:cNvPr>
            <p:cNvSpPr>
              <a:spLocks/>
            </p:cNvSpPr>
            <p:nvPr/>
          </p:nvSpPr>
          <p:spPr bwMode="auto">
            <a:xfrm>
              <a:off x="7451471" y="7182657"/>
              <a:ext cx="2114697" cy="3174744"/>
            </a:xfrm>
            <a:custGeom>
              <a:avLst/>
              <a:gdLst>
                <a:gd name="T0" fmla="*/ 165 w 330"/>
                <a:gd name="T1" fmla="*/ 166 h 496"/>
                <a:gd name="T2" fmla="*/ 187 w 330"/>
                <a:gd name="T3" fmla="*/ 83 h 496"/>
                <a:gd name="T4" fmla="*/ 44 w 330"/>
                <a:gd name="T5" fmla="*/ 0 h 496"/>
                <a:gd name="T6" fmla="*/ 0 w 330"/>
                <a:gd name="T7" fmla="*/ 166 h 496"/>
                <a:gd name="T8" fmla="*/ 330 w 330"/>
                <a:gd name="T9" fmla="*/ 496 h 496"/>
                <a:gd name="T10" fmla="*/ 330 w 330"/>
                <a:gd name="T11" fmla="*/ 331 h 496"/>
                <a:gd name="T12" fmla="*/ 165 w 330"/>
                <a:gd name="T13" fmla="*/ 166 h 496"/>
              </a:gdLst>
              <a:ahLst/>
              <a:cxnLst>
                <a:cxn ang="0">
                  <a:pos x="T0" y="T1"/>
                </a:cxn>
                <a:cxn ang="0">
                  <a:pos x="T2" y="T3"/>
                </a:cxn>
                <a:cxn ang="0">
                  <a:pos x="T4" y="T5"/>
                </a:cxn>
                <a:cxn ang="0">
                  <a:pos x="T6" y="T7"/>
                </a:cxn>
                <a:cxn ang="0">
                  <a:pos x="T8" y="T9"/>
                </a:cxn>
                <a:cxn ang="0">
                  <a:pos x="T10" y="T11"/>
                </a:cxn>
                <a:cxn ang="0">
                  <a:pos x="T12" y="T13"/>
                </a:cxn>
              </a:cxnLst>
              <a:rect l="0" t="0" r="r" b="b"/>
              <a:pathLst>
                <a:path w="330" h="496">
                  <a:moveTo>
                    <a:pt x="165" y="166"/>
                  </a:moveTo>
                  <a:cubicBezTo>
                    <a:pt x="165" y="135"/>
                    <a:pt x="173" y="107"/>
                    <a:pt x="187" y="83"/>
                  </a:cubicBezTo>
                  <a:cubicBezTo>
                    <a:pt x="44" y="0"/>
                    <a:pt x="44" y="0"/>
                    <a:pt x="44" y="0"/>
                  </a:cubicBezTo>
                  <a:cubicBezTo>
                    <a:pt x="16" y="49"/>
                    <a:pt x="0" y="105"/>
                    <a:pt x="0" y="166"/>
                  </a:cubicBezTo>
                  <a:cubicBezTo>
                    <a:pt x="0" y="348"/>
                    <a:pt x="148" y="496"/>
                    <a:pt x="330" y="496"/>
                  </a:cubicBezTo>
                  <a:cubicBezTo>
                    <a:pt x="330" y="331"/>
                    <a:pt x="330" y="331"/>
                    <a:pt x="330" y="331"/>
                  </a:cubicBezTo>
                  <a:cubicBezTo>
                    <a:pt x="239" y="331"/>
                    <a:pt x="165" y="257"/>
                    <a:pt x="165" y="166"/>
                  </a:cubicBezTo>
                  <a:close/>
                </a:path>
              </a:pathLst>
            </a:cu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6">
              <a:extLst>
                <a:ext uri="{FF2B5EF4-FFF2-40B4-BE49-F238E27FC236}">
                  <a16:creationId xmlns:a16="http://schemas.microsoft.com/office/drawing/2014/main" id="{3FA3E279-7720-455A-81CE-B4F00DB1DE49}"/>
                </a:ext>
              </a:extLst>
            </p:cNvPr>
            <p:cNvSpPr>
              <a:spLocks/>
            </p:cNvSpPr>
            <p:nvPr/>
          </p:nvSpPr>
          <p:spPr bwMode="auto">
            <a:xfrm>
              <a:off x="9656303" y="7182657"/>
              <a:ext cx="2120090" cy="3174744"/>
            </a:xfrm>
            <a:custGeom>
              <a:avLst/>
              <a:gdLst>
                <a:gd name="T0" fmla="*/ 144 w 331"/>
                <a:gd name="T1" fmla="*/ 83 h 496"/>
                <a:gd name="T2" fmla="*/ 166 w 331"/>
                <a:gd name="T3" fmla="*/ 166 h 496"/>
                <a:gd name="T4" fmla="*/ 0 w 331"/>
                <a:gd name="T5" fmla="*/ 331 h 496"/>
                <a:gd name="T6" fmla="*/ 0 w 331"/>
                <a:gd name="T7" fmla="*/ 496 h 496"/>
                <a:gd name="T8" fmla="*/ 331 w 331"/>
                <a:gd name="T9" fmla="*/ 166 h 496"/>
                <a:gd name="T10" fmla="*/ 287 w 331"/>
                <a:gd name="T11" fmla="*/ 0 h 496"/>
                <a:gd name="T12" fmla="*/ 144 w 331"/>
                <a:gd name="T13" fmla="*/ 83 h 496"/>
              </a:gdLst>
              <a:ahLst/>
              <a:cxnLst>
                <a:cxn ang="0">
                  <a:pos x="T0" y="T1"/>
                </a:cxn>
                <a:cxn ang="0">
                  <a:pos x="T2" y="T3"/>
                </a:cxn>
                <a:cxn ang="0">
                  <a:pos x="T4" y="T5"/>
                </a:cxn>
                <a:cxn ang="0">
                  <a:pos x="T6" y="T7"/>
                </a:cxn>
                <a:cxn ang="0">
                  <a:pos x="T8" y="T9"/>
                </a:cxn>
                <a:cxn ang="0">
                  <a:pos x="T10" y="T11"/>
                </a:cxn>
                <a:cxn ang="0">
                  <a:pos x="T12" y="T13"/>
                </a:cxn>
              </a:cxnLst>
              <a:rect l="0" t="0" r="r" b="b"/>
              <a:pathLst>
                <a:path w="331" h="496">
                  <a:moveTo>
                    <a:pt x="144" y="83"/>
                  </a:moveTo>
                  <a:cubicBezTo>
                    <a:pt x="158" y="107"/>
                    <a:pt x="166" y="135"/>
                    <a:pt x="166" y="166"/>
                  </a:cubicBezTo>
                  <a:cubicBezTo>
                    <a:pt x="166" y="257"/>
                    <a:pt x="92" y="331"/>
                    <a:pt x="0" y="331"/>
                  </a:cubicBezTo>
                  <a:cubicBezTo>
                    <a:pt x="0" y="496"/>
                    <a:pt x="0" y="496"/>
                    <a:pt x="0" y="496"/>
                  </a:cubicBezTo>
                  <a:cubicBezTo>
                    <a:pt x="183" y="496"/>
                    <a:pt x="331" y="348"/>
                    <a:pt x="331" y="166"/>
                  </a:cubicBezTo>
                  <a:cubicBezTo>
                    <a:pt x="331" y="105"/>
                    <a:pt x="315" y="49"/>
                    <a:pt x="287" y="0"/>
                  </a:cubicBezTo>
                  <a:lnTo>
                    <a:pt x="144" y="83"/>
                  </a:lnTo>
                  <a:close/>
                </a:path>
              </a:pathLst>
            </a:cu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64" name="Freeform 7">
              <a:extLst>
                <a:ext uri="{FF2B5EF4-FFF2-40B4-BE49-F238E27FC236}">
                  <a16:creationId xmlns:a16="http://schemas.microsoft.com/office/drawing/2014/main" id="{4A8373E1-7AF6-41AA-A8EB-CC0E25A87A26}"/>
                </a:ext>
              </a:extLst>
            </p:cNvPr>
            <p:cNvSpPr>
              <a:spLocks/>
            </p:cNvSpPr>
            <p:nvPr/>
          </p:nvSpPr>
          <p:spPr bwMode="auto">
            <a:xfrm>
              <a:off x="7779758" y="6064989"/>
              <a:ext cx="3668350" cy="1586022"/>
            </a:xfrm>
            <a:custGeom>
              <a:avLst/>
              <a:gdLst>
                <a:gd name="T0" fmla="*/ 286 w 573"/>
                <a:gd name="T1" fmla="*/ 165 h 248"/>
                <a:gd name="T2" fmla="*/ 430 w 573"/>
                <a:gd name="T3" fmla="*/ 248 h 248"/>
                <a:gd name="T4" fmla="*/ 573 w 573"/>
                <a:gd name="T5" fmla="*/ 165 h 248"/>
                <a:gd name="T6" fmla="*/ 286 w 573"/>
                <a:gd name="T7" fmla="*/ 0 h 248"/>
                <a:gd name="T8" fmla="*/ 0 w 573"/>
                <a:gd name="T9" fmla="*/ 165 h 248"/>
                <a:gd name="T10" fmla="*/ 143 w 573"/>
                <a:gd name="T11" fmla="*/ 248 h 248"/>
                <a:gd name="T12" fmla="*/ 286 w 573"/>
                <a:gd name="T13" fmla="*/ 165 h 248"/>
              </a:gdLst>
              <a:ahLst/>
              <a:cxnLst>
                <a:cxn ang="0">
                  <a:pos x="T0" y="T1"/>
                </a:cxn>
                <a:cxn ang="0">
                  <a:pos x="T2" y="T3"/>
                </a:cxn>
                <a:cxn ang="0">
                  <a:pos x="T4" y="T5"/>
                </a:cxn>
                <a:cxn ang="0">
                  <a:pos x="T6" y="T7"/>
                </a:cxn>
                <a:cxn ang="0">
                  <a:pos x="T8" y="T9"/>
                </a:cxn>
                <a:cxn ang="0">
                  <a:pos x="T10" y="T11"/>
                </a:cxn>
                <a:cxn ang="0">
                  <a:pos x="T12" y="T13"/>
                </a:cxn>
              </a:cxnLst>
              <a:rect l="0" t="0" r="r" b="b"/>
              <a:pathLst>
                <a:path w="573" h="248">
                  <a:moveTo>
                    <a:pt x="286" y="165"/>
                  </a:moveTo>
                  <a:cubicBezTo>
                    <a:pt x="348" y="165"/>
                    <a:pt x="401" y="198"/>
                    <a:pt x="430" y="248"/>
                  </a:cubicBezTo>
                  <a:cubicBezTo>
                    <a:pt x="573" y="165"/>
                    <a:pt x="573" y="165"/>
                    <a:pt x="573" y="165"/>
                  </a:cubicBezTo>
                  <a:cubicBezTo>
                    <a:pt x="515" y="67"/>
                    <a:pt x="409" y="0"/>
                    <a:pt x="286" y="0"/>
                  </a:cubicBezTo>
                  <a:cubicBezTo>
                    <a:pt x="164" y="0"/>
                    <a:pt x="57" y="67"/>
                    <a:pt x="0" y="165"/>
                  </a:cubicBezTo>
                  <a:cubicBezTo>
                    <a:pt x="143" y="248"/>
                    <a:pt x="143" y="248"/>
                    <a:pt x="143" y="248"/>
                  </a:cubicBezTo>
                  <a:cubicBezTo>
                    <a:pt x="171" y="198"/>
                    <a:pt x="225" y="165"/>
                    <a:pt x="286" y="165"/>
                  </a:cubicBezTo>
                  <a:close/>
                </a:path>
              </a:pathLst>
            </a:cu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34262F06-2160-47A5-896D-445702066946}"/>
              </a:ext>
              <a:ext uri="{C183D7F6-B498-43B3-948B-1728B52AA6E4}">
                <adec:decorative xmlns:adec="http://schemas.microsoft.com/office/drawing/2017/decorative" val="1"/>
              </a:ext>
            </a:extLst>
          </p:cNvPr>
          <p:cNvGrpSpPr/>
          <p:nvPr/>
        </p:nvGrpSpPr>
        <p:grpSpPr>
          <a:xfrm rot="19957037">
            <a:off x="10825741" y="2716975"/>
            <a:ext cx="335420" cy="334063"/>
            <a:chOff x="11181976" y="2925955"/>
            <a:chExt cx="335420" cy="334063"/>
          </a:xfrm>
        </p:grpSpPr>
        <p:sp>
          <p:nvSpPr>
            <p:cNvPr id="4" name="Oval 3">
              <a:extLst>
                <a:ext uri="{FF2B5EF4-FFF2-40B4-BE49-F238E27FC236}">
                  <a16:creationId xmlns:a16="http://schemas.microsoft.com/office/drawing/2014/main" id="{8A2898D3-D143-45BC-8911-CFCA84F2749B}"/>
                </a:ext>
              </a:extLst>
            </p:cNvPr>
            <p:cNvSpPr/>
            <p:nvPr/>
          </p:nvSpPr>
          <p:spPr bwMode="auto">
            <a:xfrm>
              <a:off x="11193780" y="2933700"/>
              <a:ext cx="312420" cy="312420"/>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3" name="Freeform 9">
              <a:extLst>
                <a:ext uri="{FF2B5EF4-FFF2-40B4-BE49-F238E27FC236}">
                  <a16:creationId xmlns:a16="http://schemas.microsoft.com/office/drawing/2014/main" id="{7FB5EA02-0569-4B17-A102-63C420934535}"/>
                </a:ext>
              </a:extLst>
            </p:cNvPr>
            <p:cNvSpPr>
              <a:spLocks noChangeAspect="1" noEditPoints="1"/>
            </p:cNvSpPr>
            <p:nvPr/>
          </p:nvSpPr>
          <p:spPr bwMode="auto">
            <a:xfrm rot="5400000">
              <a:off x="11182654" y="2925277"/>
              <a:ext cx="334063" cy="33542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grpSp>
        <p:nvGrpSpPr>
          <p:cNvPr id="67" name="Group 66">
            <a:extLst>
              <a:ext uri="{FF2B5EF4-FFF2-40B4-BE49-F238E27FC236}">
                <a16:creationId xmlns:a16="http://schemas.microsoft.com/office/drawing/2014/main" id="{294E6E6F-8115-4BAA-A37D-2342C7797B52}"/>
              </a:ext>
              <a:ext uri="{C183D7F6-B498-43B3-948B-1728B52AA6E4}">
                <adec:decorative xmlns:adec="http://schemas.microsoft.com/office/drawing/2017/decorative" val="1"/>
              </a:ext>
            </a:extLst>
          </p:cNvPr>
          <p:cNvGrpSpPr/>
          <p:nvPr/>
        </p:nvGrpSpPr>
        <p:grpSpPr>
          <a:xfrm rot="5400000">
            <a:off x="9393183" y="5166807"/>
            <a:ext cx="335420" cy="334063"/>
            <a:chOff x="11181976" y="2925955"/>
            <a:chExt cx="335420" cy="334063"/>
          </a:xfrm>
        </p:grpSpPr>
        <p:sp>
          <p:nvSpPr>
            <p:cNvPr id="68" name="Oval 67">
              <a:extLst>
                <a:ext uri="{FF2B5EF4-FFF2-40B4-BE49-F238E27FC236}">
                  <a16:creationId xmlns:a16="http://schemas.microsoft.com/office/drawing/2014/main" id="{FDF78BC7-6AF6-4C1A-B07C-3D7A13CE3BE1}"/>
                </a:ext>
              </a:extLst>
            </p:cNvPr>
            <p:cNvSpPr/>
            <p:nvPr/>
          </p:nvSpPr>
          <p:spPr bwMode="auto">
            <a:xfrm>
              <a:off x="11193780" y="2933700"/>
              <a:ext cx="312420" cy="312420"/>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9">
              <a:extLst>
                <a:ext uri="{FF2B5EF4-FFF2-40B4-BE49-F238E27FC236}">
                  <a16:creationId xmlns:a16="http://schemas.microsoft.com/office/drawing/2014/main" id="{ED526EE6-2DB8-49F8-9AC0-FCF85E6048A1}"/>
                </a:ext>
              </a:extLst>
            </p:cNvPr>
            <p:cNvSpPr>
              <a:spLocks noChangeAspect="1" noEditPoints="1"/>
            </p:cNvSpPr>
            <p:nvPr/>
          </p:nvSpPr>
          <p:spPr bwMode="auto">
            <a:xfrm rot="5400000">
              <a:off x="11182654" y="2925277"/>
              <a:ext cx="334063" cy="33542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grpSp>
        <p:nvGrpSpPr>
          <p:cNvPr id="70" name="Group 69">
            <a:extLst>
              <a:ext uri="{FF2B5EF4-FFF2-40B4-BE49-F238E27FC236}">
                <a16:creationId xmlns:a16="http://schemas.microsoft.com/office/drawing/2014/main" id="{9E331BFB-6D6B-4A72-8340-B9B745B6DEE9}"/>
              </a:ext>
              <a:ext uri="{C183D7F6-B498-43B3-948B-1728B52AA6E4}">
                <adec:decorative xmlns:adec="http://schemas.microsoft.com/office/drawing/2017/decorative" val="1"/>
              </a:ext>
            </a:extLst>
          </p:cNvPr>
          <p:cNvGrpSpPr/>
          <p:nvPr/>
        </p:nvGrpSpPr>
        <p:grpSpPr>
          <a:xfrm rot="12412206">
            <a:off x="8184797" y="2863640"/>
            <a:ext cx="335420" cy="334063"/>
            <a:chOff x="11181976" y="2925955"/>
            <a:chExt cx="335420" cy="334063"/>
          </a:xfrm>
        </p:grpSpPr>
        <p:sp>
          <p:nvSpPr>
            <p:cNvPr id="71" name="Oval 70">
              <a:extLst>
                <a:ext uri="{FF2B5EF4-FFF2-40B4-BE49-F238E27FC236}">
                  <a16:creationId xmlns:a16="http://schemas.microsoft.com/office/drawing/2014/main" id="{F4BFE7F4-B69B-4AE7-860E-CA9120103C3A}"/>
                </a:ext>
              </a:extLst>
            </p:cNvPr>
            <p:cNvSpPr/>
            <p:nvPr/>
          </p:nvSpPr>
          <p:spPr bwMode="auto">
            <a:xfrm>
              <a:off x="11193780" y="2933700"/>
              <a:ext cx="312420" cy="312420"/>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2" name="Freeform 9">
              <a:extLst>
                <a:ext uri="{FF2B5EF4-FFF2-40B4-BE49-F238E27FC236}">
                  <a16:creationId xmlns:a16="http://schemas.microsoft.com/office/drawing/2014/main" id="{C37AE835-8F65-404B-BD7F-FEAB6D178740}"/>
                </a:ext>
              </a:extLst>
            </p:cNvPr>
            <p:cNvSpPr>
              <a:spLocks noChangeAspect="1" noEditPoints="1"/>
            </p:cNvSpPr>
            <p:nvPr/>
          </p:nvSpPr>
          <p:spPr bwMode="auto">
            <a:xfrm rot="5400000">
              <a:off x="11182654" y="2925277"/>
              <a:ext cx="334063" cy="33542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911A84D5-D13C-4E37-8C45-0A2C78B54FF8}"/>
              </a:ext>
              <a:ext uri="{C183D7F6-B498-43B3-948B-1728B52AA6E4}">
                <adec:decorative xmlns:adec="http://schemas.microsoft.com/office/drawing/2017/decorative" val="1"/>
              </a:ext>
            </a:extLst>
          </p:cNvPr>
          <p:cNvGrpSpPr/>
          <p:nvPr/>
        </p:nvGrpSpPr>
        <p:grpSpPr>
          <a:xfrm>
            <a:off x="9266511" y="2403717"/>
            <a:ext cx="582827" cy="582825"/>
            <a:chOff x="9322520" y="8310813"/>
            <a:chExt cx="582827" cy="582825"/>
          </a:xfrm>
        </p:grpSpPr>
        <p:sp>
          <p:nvSpPr>
            <p:cNvPr id="100" name="Oval 99">
              <a:extLst>
                <a:ext uri="{FF2B5EF4-FFF2-40B4-BE49-F238E27FC236}">
                  <a16:creationId xmlns:a16="http://schemas.microsoft.com/office/drawing/2014/main" id="{DC845E3A-D25F-470B-A7AB-7A6D6BA35B22}"/>
                </a:ext>
              </a:extLst>
            </p:cNvPr>
            <p:cNvSpPr/>
            <p:nvPr/>
          </p:nvSpPr>
          <p:spPr>
            <a:xfrm>
              <a:off x="9322520" y="8310813"/>
              <a:ext cx="582827" cy="582825"/>
            </a:xfrm>
            <a:prstGeom prst="ellipse">
              <a:avLst/>
            </a:prstGeom>
            <a:solidFill>
              <a:schemeClr val="bg1"/>
            </a:solidFill>
            <a:ln w="6350">
              <a:solidFill>
                <a:schemeClr val="accent1"/>
              </a:solidFill>
            </a:ln>
          </p:spPr>
          <p:txBody>
            <a:bodyPr wrap="square" lIns="0" tIns="0" rIns="0" bIns="0" rtlCol="0" anchor="ctr">
              <a:noAutofit/>
            </a:bodyPr>
            <a:lstStyle/>
            <a:p>
              <a:pPr algn="ctr"/>
              <a:endParaRPr lang="en-US" sz="1765">
                <a:latin typeface="Segoe UI"/>
              </a:endParaRPr>
            </a:p>
          </p:txBody>
        </p:sp>
        <p:sp>
          <p:nvSpPr>
            <p:cNvPr id="101" name="send" title="Icon of a paper airplane">
              <a:extLst>
                <a:ext uri="{FF2B5EF4-FFF2-40B4-BE49-F238E27FC236}">
                  <a16:creationId xmlns:a16="http://schemas.microsoft.com/office/drawing/2014/main" id="{6D602A2F-7B58-42B6-A515-9D7452B0B02F}"/>
                </a:ext>
              </a:extLst>
            </p:cNvPr>
            <p:cNvSpPr>
              <a:spLocks noChangeAspect="1" noEditPoints="1"/>
            </p:cNvSpPr>
            <p:nvPr/>
          </p:nvSpPr>
          <p:spPr bwMode="auto">
            <a:xfrm rot="19573410">
              <a:off x="9427004" y="8477057"/>
              <a:ext cx="373858" cy="250336"/>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gradFill>
                  <a:gsLst>
                    <a:gs pos="0">
                      <a:srgbClr val="505050"/>
                    </a:gs>
                    <a:gs pos="100000">
                      <a:srgbClr val="505050"/>
                    </a:gs>
                  </a:gsLst>
                </a:gradFill>
              </a:endParaRPr>
            </a:p>
          </p:txBody>
        </p:sp>
      </p:grpSp>
      <p:sp>
        <p:nvSpPr>
          <p:cNvPr id="75" name="Oval 74">
            <a:extLst>
              <a:ext uri="{FF2B5EF4-FFF2-40B4-BE49-F238E27FC236}">
                <a16:creationId xmlns:a16="http://schemas.microsoft.com/office/drawing/2014/main" id="{E1AC9BB9-EEDE-4DA1-B1AE-61F87D31B4BF}"/>
              </a:ext>
            </a:extLst>
          </p:cNvPr>
          <p:cNvSpPr/>
          <p:nvPr/>
        </p:nvSpPr>
        <p:spPr>
          <a:xfrm>
            <a:off x="10170185" y="3849639"/>
            <a:ext cx="582827" cy="582825"/>
          </a:xfrm>
          <a:prstGeom prst="ellipse">
            <a:avLst/>
          </a:prstGeom>
          <a:solidFill>
            <a:schemeClr val="bg1"/>
          </a:solidFill>
          <a:ln w="6350">
            <a:solidFill>
              <a:schemeClr val="accent1"/>
            </a:solidFill>
          </a:ln>
        </p:spPr>
        <p:txBody>
          <a:bodyPr wrap="square" lIns="0" tIns="0" rIns="0" bIns="0" rtlCol="0" anchor="ctr">
            <a:noAutofit/>
          </a:bodyPr>
          <a:lstStyle/>
          <a:p>
            <a:pPr algn="ctr"/>
            <a:endParaRPr lang="en-US" sz="1765">
              <a:latin typeface="Segoe UI"/>
            </a:endParaRPr>
          </a:p>
        </p:txBody>
      </p:sp>
      <p:sp>
        <p:nvSpPr>
          <p:cNvPr id="85" name="Oval 84">
            <a:extLst>
              <a:ext uri="{FF2B5EF4-FFF2-40B4-BE49-F238E27FC236}">
                <a16:creationId xmlns:a16="http://schemas.microsoft.com/office/drawing/2014/main" id="{D33E0761-F102-47D8-8E08-F5D0927A9A56}"/>
              </a:ext>
            </a:extLst>
          </p:cNvPr>
          <p:cNvSpPr/>
          <p:nvPr/>
        </p:nvSpPr>
        <p:spPr>
          <a:xfrm>
            <a:off x="8528079" y="3951853"/>
            <a:ext cx="582827" cy="582825"/>
          </a:xfrm>
          <a:prstGeom prst="ellipse">
            <a:avLst/>
          </a:prstGeom>
          <a:solidFill>
            <a:schemeClr val="bg1"/>
          </a:solidFill>
          <a:ln w="6350">
            <a:solidFill>
              <a:schemeClr val="accent1"/>
            </a:solidFill>
          </a:ln>
        </p:spPr>
        <p:txBody>
          <a:bodyPr wrap="square" lIns="0" tIns="0" rIns="0" bIns="0" rtlCol="0" anchor="ctr">
            <a:noAutofit/>
          </a:bodyPr>
          <a:lstStyle/>
          <a:p>
            <a:pPr algn="ctr"/>
            <a:endParaRPr lang="en-US" sz="1765">
              <a:latin typeface="Segoe UI"/>
            </a:endParaRPr>
          </a:p>
        </p:txBody>
      </p:sp>
      <p:sp>
        <p:nvSpPr>
          <p:cNvPr id="87" name="Chart_E999">
            <a:extLst>
              <a:ext uri="{FF2B5EF4-FFF2-40B4-BE49-F238E27FC236}">
                <a16:creationId xmlns:a16="http://schemas.microsoft.com/office/drawing/2014/main" id="{AD2CB0F0-7CB4-44A3-9CD8-37CFF6BFE636}"/>
              </a:ext>
            </a:extLst>
          </p:cNvPr>
          <p:cNvSpPr>
            <a:spLocks noChangeAspect="1" noEditPoints="1"/>
          </p:cNvSpPr>
          <p:nvPr/>
        </p:nvSpPr>
        <p:spPr bwMode="auto">
          <a:xfrm>
            <a:off x="10311957" y="3991304"/>
            <a:ext cx="299283" cy="299495"/>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sp>
        <p:nvSpPr>
          <p:cNvPr id="106" name="Financial_E7BB">
            <a:extLst>
              <a:ext uri="{FF2B5EF4-FFF2-40B4-BE49-F238E27FC236}">
                <a16:creationId xmlns:a16="http://schemas.microsoft.com/office/drawing/2014/main" id="{AC7B08C0-309B-4E31-9522-AAE3B57E7109}"/>
              </a:ext>
            </a:extLst>
          </p:cNvPr>
          <p:cNvSpPr>
            <a:spLocks noChangeAspect="1" noEditPoints="1"/>
          </p:cNvSpPr>
          <p:nvPr/>
        </p:nvSpPr>
        <p:spPr bwMode="auto">
          <a:xfrm>
            <a:off x="8646670" y="4089103"/>
            <a:ext cx="345644" cy="308325"/>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flat">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sp>
        <p:nvSpPr>
          <p:cNvPr id="112" name="TextBox 111">
            <a:extLst>
              <a:ext uri="{FF2B5EF4-FFF2-40B4-BE49-F238E27FC236}">
                <a16:creationId xmlns:a16="http://schemas.microsoft.com/office/drawing/2014/main" id="{B5404789-7E08-4B5D-9800-A1057A86C8F6}"/>
              </a:ext>
            </a:extLst>
          </p:cNvPr>
          <p:cNvSpPr txBox="1"/>
          <p:nvPr/>
        </p:nvSpPr>
        <p:spPr>
          <a:xfrm>
            <a:off x="8345456" y="2244535"/>
            <a:ext cx="2606994" cy="1985742"/>
          </a:xfrm>
          <a:prstGeom prst="rect">
            <a:avLst/>
          </a:prstGeom>
          <a:noFill/>
        </p:spPr>
        <p:txBody>
          <a:bodyPr spcFirstLastPara="1" wrap="none" lIns="44813" tIns="44813" rIns="44813" bIns="44813" numCol="1" rtlCol="0">
            <a:prstTxWarp prst="textArchUp">
              <a:avLst/>
            </a:prstTxWarp>
            <a:spAutoFit/>
          </a:bodyPr>
          <a:lstStyle/>
          <a:p>
            <a:pPr algn="ctr" defTabSz="914180"/>
            <a:r>
              <a:rPr lang="en-US" sz="1961" spc="-29">
                <a:solidFill>
                  <a:schemeClr val="bg1"/>
                </a:solidFill>
              </a:rPr>
              <a:t>Faster</a:t>
            </a:r>
            <a:br>
              <a:rPr lang="en-US" sz="1961" spc="-29">
                <a:solidFill>
                  <a:schemeClr val="bg1"/>
                </a:solidFill>
              </a:rPr>
            </a:br>
            <a:r>
              <a:rPr lang="en-US" sz="1961" spc="-29">
                <a:solidFill>
                  <a:schemeClr val="bg1"/>
                </a:solidFill>
              </a:rPr>
              <a:t>Deployment</a:t>
            </a:r>
          </a:p>
        </p:txBody>
      </p:sp>
      <p:sp>
        <p:nvSpPr>
          <p:cNvPr id="113" name="TextBox 112">
            <a:extLst>
              <a:ext uri="{FF2B5EF4-FFF2-40B4-BE49-F238E27FC236}">
                <a16:creationId xmlns:a16="http://schemas.microsoft.com/office/drawing/2014/main" id="{889D21FB-8BCC-4741-9AFF-52D79A343816}"/>
              </a:ext>
            </a:extLst>
          </p:cNvPr>
          <p:cNvSpPr txBox="1"/>
          <p:nvPr/>
        </p:nvSpPr>
        <p:spPr>
          <a:xfrm rot="17965387">
            <a:off x="9655487" y="3830070"/>
            <a:ext cx="1856586" cy="754488"/>
          </a:xfrm>
          <a:prstGeom prst="rect">
            <a:avLst/>
          </a:prstGeom>
          <a:noFill/>
        </p:spPr>
        <p:txBody>
          <a:bodyPr spcFirstLastPara="1" wrap="none" lIns="44813" tIns="44813" rIns="44813" bIns="44813" numCol="1" rtlCol="0">
            <a:prstTxWarp prst="textArchDown">
              <a:avLst/>
            </a:prstTxWarp>
            <a:spAutoFit/>
          </a:bodyPr>
          <a:lstStyle/>
          <a:p>
            <a:pPr algn="ctr" defTabSz="914180"/>
            <a:r>
              <a:rPr lang="en-US" sz="1961" spc="-29">
                <a:solidFill>
                  <a:schemeClr val="bg1"/>
                </a:solidFill>
              </a:rPr>
              <a:t>Higher</a:t>
            </a:r>
            <a:br>
              <a:rPr lang="en-US" sz="1961" spc="-29">
                <a:solidFill>
                  <a:schemeClr val="bg1"/>
                </a:solidFill>
              </a:rPr>
            </a:br>
            <a:r>
              <a:rPr lang="en-US" sz="1961" spc="-29">
                <a:solidFill>
                  <a:schemeClr val="bg1"/>
                </a:solidFill>
              </a:rPr>
              <a:t>Adoption</a:t>
            </a:r>
          </a:p>
        </p:txBody>
      </p:sp>
      <p:sp>
        <p:nvSpPr>
          <p:cNvPr id="114" name="TextBox 113">
            <a:extLst>
              <a:ext uri="{FF2B5EF4-FFF2-40B4-BE49-F238E27FC236}">
                <a16:creationId xmlns:a16="http://schemas.microsoft.com/office/drawing/2014/main" id="{D185724B-90BE-4AEA-8B66-35F1D501CF07}"/>
              </a:ext>
            </a:extLst>
          </p:cNvPr>
          <p:cNvSpPr txBox="1"/>
          <p:nvPr/>
        </p:nvSpPr>
        <p:spPr>
          <a:xfrm rot="3474637">
            <a:off x="7739383" y="3859648"/>
            <a:ext cx="1701916" cy="829667"/>
          </a:xfrm>
          <a:prstGeom prst="rect">
            <a:avLst/>
          </a:prstGeom>
          <a:noFill/>
        </p:spPr>
        <p:txBody>
          <a:bodyPr spcFirstLastPara="1" wrap="none" lIns="44813" tIns="44813" rIns="44813" bIns="44813" numCol="1" rtlCol="0">
            <a:prstTxWarp prst="textArchDown">
              <a:avLst>
                <a:gd name="adj" fmla="val 473164"/>
              </a:avLst>
            </a:prstTxWarp>
            <a:spAutoFit/>
          </a:bodyPr>
          <a:lstStyle/>
          <a:p>
            <a:pPr algn="ctr" defTabSz="914180"/>
            <a:r>
              <a:rPr lang="en-US" sz="1961" spc="-29">
                <a:solidFill>
                  <a:schemeClr val="bg1"/>
                </a:solidFill>
              </a:rPr>
              <a:t>Maximized </a:t>
            </a:r>
            <a:br>
              <a:rPr lang="en-US" sz="1961" spc="-29">
                <a:solidFill>
                  <a:schemeClr val="bg1"/>
                </a:solidFill>
              </a:rPr>
            </a:br>
            <a:r>
              <a:rPr lang="en-US" sz="1961" spc="-29">
                <a:solidFill>
                  <a:schemeClr val="bg1"/>
                </a:solidFill>
              </a:rPr>
              <a:t>ROI</a:t>
            </a:r>
          </a:p>
        </p:txBody>
      </p:sp>
      <p:grpSp>
        <p:nvGrpSpPr>
          <p:cNvPr id="17" name="Group 16">
            <a:extLst>
              <a:ext uri="{FF2B5EF4-FFF2-40B4-BE49-F238E27FC236}">
                <a16:creationId xmlns:a16="http://schemas.microsoft.com/office/drawing/2014/main" id="{7CA9523E-2DB7-484E-8650-7348B904C503}"/>
              </a:ext>
              <a:ext uri="{C183D7F6-B498-43B3-948B-1728B52AA6E4}">
                <adec:decorative xmlns:adec="http://schemas.microsoft.com/office/drawing/2017/decorative" val="1"/>
              </a:ext>
            </a:extLst>
          </p:cNvPr>
          <p:cNvGrpSpPr/>
          <p:nvPr/>
        </p:nvGrpSpPr>
        <p:grpSpPr>
          <a:xfrm>
            <a:off x="735612" y="2083983"/>
            <a:ext cx="537683" cy="373603"/>
            <a:chOff x="-2966560" y="2206485"/>
            <a:chExt cx="1426628" cy="991282"/>
          </a:xfrm>
        </p:grpSpPr>
        <p:grpSp>
          <p:nvGrpSpPr>
            <p:cNvPr id="128" name="Group 127">
              <a:extLst>
                <a:ext uri="{FF2B5EF4-FFF2-40B4-BE49-F238E27FC236}">
                  <a16:creationId xmlns:a16="http://schemas.microsoft.com/office/drawing/2014/main" id="{6291253E-F40A-4B02-B9B4-B632A94B9CD6}"/>
                </a:ext>
              </a:extLst>
            </p:cNvPr>
            <p:cNvGrpSpPr/>
            <p:nvPr/>
          </p:nvGrpSpPr>
          <p:grpSpPr>
            <a:xfrm>
              <a:off x="-2966560" y="2538059"/>
              <a:ext cx="637277" cy="659708"/>
              <a:chOff x="5769769" y="3088481"/>
              <a:chExt cx="647700" cy="674370"/>
            </a:xfrm>
          </p:grpSpPr>
          <p:sp>
            <p:nvSpPr>
              <p:cNvPr id="129" name="Freeform: Shape 128">
                <a:extLst>
                  <a:ext uri="{FF2B5EF4-FFF2-40B4-BE49-F238E27FC236}">
                    <a16:creationId xmlns:a16="http://schemas.microsoft.com/office/drawing/2014/main" id="{F9EC5390-57A9-4D1F-8F14-754886EBDA43}"/>
                  </a:ext>
                </a:extLst>
              </p:cNvPr>
              <p:cNvSpPr/>
              <p:nvPr/>
            </p:nvSpPr>
            <p:spPr>
              <a:xfrm>
                <a:off x="5938361" y="3088481"/>
                <a:ext cx="314325" cy="314325"/>
              </a:xfrm>
              <a:custGeom>
                <a:avLst/>
                <a:gdLst>
                  <a:gd name="connsiteX0" fmla="*/ 308134 w 314325"/>
                  <a:gd name="connsiteY0" fmla="*/ 157639 h 314325"/>
                  <a:gd name="connsiteX1" fmla="*/ 157639 w 314325"/>
                  <a:gd name="connsiteY1" fmla="*/ 308134 h 314325"/>
                  <a:gd name="connsiteX2" fmla="*/ 7144 w 314325"/>
                  <a:gd name="connsiteY2" fmla="*/ 157639 h 314325"/>
                  <a:gd name="connsiteX3" fmla="*/ 157639 w 314325"/>
                  <a:gd name="connsiteY3" fmla="*/ 7144 h 314325"/>
                  <a:gd name="connsiteX4" fmla="*/ 308134 w 314325"/>
                  <a:gd name="connsiteY4" fmla="*/ 157639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325" h="314325">
                    <a:moveTo>
                      <a:pt x="308134" y="157639"/>
                    </a:moveTo>
                    <a:cubicBezTo>
                      <a:pt x="308134" y="240755"/>
                      <a:pt x="240755" y="308134"/>
                      <a:pt x="157639" y="308134"/>
                    </a:cubicBezTo>
                    <a:cubicBezTo>
                      <a:pt x="74523" y="308134"/>
                      <a:pt x="7144" y="240755"/>
                      <a:pt x="7144" y="157639"/>
                    </a:cubicBezTo>
                    <a:cubicBezTo>
                      <a:pt x="7144" y="74523"/>
                      <a:pt x="74523" y="7144"/>
                      <a:pt x="157639" y="7144"/>
                    </a:cubicBezTo>
                    <a:cubicBezTo>
                      <a:pt x="240755" y="7144"/>
                      <a:pt x="308134" y="74523"/>
                      <a:pt x="308134" y="157639"/>
                    </a:cubicBezTo>
                    <a:close/>
                  </a:path>
                </a:pathLst>
              </a:custGeom>
              <a:solidFill>
                <a:schemeClr val="bg1"/>
              </a:solidFill>
              <a:ln w="9525" cap="flat">
                <a:noFill/>
                <a:prstDash val="solid"/>
                <a:miter/>
              </a:ln>
            </p:spPr>
            <p:txBody>
              <a:bodyPr rtlCol="0" anchor="ctr"/>
              <a:lstStyle/>
              <a:p>
                <a:endParaRPr lang="en-IN"/>
              </a:p>
            </p:txBody>
          </p:sp>
          <p:sp>
            <p:nvSpPr>
              <p:cNvPr id="130" name="Freeform: Shape 129">
                <a:extLst>
                  <a:ext uri="{FF2B5EF4-FFF2-40B4-BE49-F238E27FC236}">
                    <a16:creationId xmlns:a16="http://schemas.microsoft.com/office/drawing/2014/main" id="{7F240053-51A9-4B5D-B7E4-BEDDDA226B26}"/>
                  </a:ext>
                </a:extLst>
              </p:cNvPr>
              <p:cNvSpPr/>
              <p:nvPr/>
            </p:nvSpPr>
            <p:spPr>
              <a:xfrm>
                <a:off x="5769769" y="3410426"/>
                <a:ext cx="647700" cy="352425"/>
              </a:xfrm>
              <a:custGeom>
                <a:avLst/>
                <a:gdLst>
                  <a:gd name="connsiteX0" fmla="*/ 436721 w 647700"/>
                  <a:gd name="connsiteY0" fmla="*/ 7144 h 352425"/>
                  <a:gd name="connsiteX1" fmla="*/ 215741 w 647700"/>
                  <a:gd name="connsiteY1" fmla="*/ 7144 h 352425"/>
                  <a:gd name="connsiteX2" fmla="*/ 7144 w 647700"/>
                  <a:gd name="connsiteY2" fmla="*/ 215741 h 352425"/>
                  <a:gd name="connsiteX3" fmla="*/ 7144 w 647700"/>
                  <a:gd name="connsiteY3" fmla="*/ 351949 h 352425"/>
                  <a:gd name="connsiteX4" fmla="*/ 644366 w 647700"/>
                  <a:gd name="connsiteY4" fmla="*/ 351949 h 352425"/>
                  <a:gd name="connsiteX5" fmla="*/ 644366 w 647700"/>
                  <a:gd name="connsiteY5" fmla="*/ 214789 h 352425"/>
                  <a:gd name="connsiteX6" fmla="*/ 436721 w 647700"/>
                  <a:gd name="connsiteY6" fmla="*/ 7144 h 352425"/>
                  <a:gd name="connsiteX7" fmla="*/ 326231 w 647700"/>
                  <a:gd name="connsiteY7" fmla="*/ 290989 h 352425"/>
                  <a:gd name="connsiteX8" fmla="*/ 302419 w 647700"/>
                  <a:gd name="connsiteY8" fmla="*/ 208121 h 352425"/>
                  <a:gd name="connsiteX9" fmla="*/ 310991 w 647700"/>
                  <a:gd name="connsiteY9" fmla="*/ 77629 h 352425"/>
                  <a:gd name="connsiteX10" fmla="*/ 341471 w 647700"/>
                  <a:gd name="connsiteY10" fmla="*/ 77629 h 352425"/>
                  <a:gd name="connsiteX11" fmla="*/ 350044 w 647700"/>
                  <a:gd name="connsiteY11" fmla="*/ 208121 h 352425"/>
                  <a:gd name="connsiteX12" fmla="*/ 326231 w 647700"/>
                  <a:gd name="connsiteY12" fmla="*/ 290989 h 352425"/>
                  <a:gd name="connsiteX13" fmla="*/ 341471 w 647700"/>
                  <a:gd name="connsiteY13" fmla="*/ 72866 h 352425"/>
                  <a:gd name="connsiteX14" fmla="*/ 341471 w 647700"/>
                  <a:gd name="connsiteY14" fmla="*/ 72866 h 352425"/>
                  <a:gd name="connsiteX15" fmla="*/ 311944 w 647700"/>
                  <a:gd name="connsiteY15" fmla="*/ 72866 h 352425"/>
                  <a:gd name="connsiteX16" fmla="*/ 290989 w 647700"/>
                  <a:gd name="connsiteY16" fmla="*/ 36671 h 352425"/>
                  <a:gd name="connsiteX17" fmla="*/ 363379 w 647700"/>
                  <a:gd name="connsiteY17" fmla="*/ 36671 h 352425"/>
                  <a:gd name="connsiteX18" fmla="*/ 341471 w 647700"/>
                  <a:gd name="connsiteY18" fmla="*/ 72866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7700" h="352425">
                    <a:moveTo>
                      <a:pt x="436721" y="7144"/>
                    </a:moveTo>
                    <a:lnTo>
                      <a:pt x="215741" y="7144"/>
                    </a:lnTo>
                    <a:cubicBezTo>
                      <a:pt x="101441" y="7144"/>
                      <a:pt x="7144" y="100489"/>
                      <a:pt x="7144" y="215741"/>
                    </a:cubicBezTo>
                    <a:lnTo>
                      <a:pt x="7144" y="351949"/>
                    </a:lnTo>
                    <a:lnTo>
                      <a:pt x="644366" y="351949"/>
                    </a:lnTo>
                    <a:lnTo>
                      <a:pt x="644366" y="214789"/>
                    </a:lnTo>
                    <a:cubicBezTo>
                      <a:pt x="645319" y="100489"/>
                      <a:pt x="551021" y="7144"/>
                      <a:pt x="436721" y="7144"/>
                    </a:cubicBezTo>
                    <a:close/>
                    <a:moveTo>
                      <a:pt x="326231" y="290989"/>
                    </a:moveTo>
                    <a:lnTo>
                      <a:pt x="302419" y="208121"/>
                    </a:lnTo>
                    <a:lnTo>
                      <a:pt x="310991" y="77629"/>
                    </a:lnTo>
                    <a:lnTo>
                      <a:pt x="341471" y="77629"/>
                    </a:lnTo>
                    <a:lnTo>
                      <a:pt x="350044" y="208121"/>
                    </a:lnTo>
                    <a:lnTo>
                      <a:pt x="326231" y="290989"/>
                    </a:lnTo>
                    <a:close/>
                    <a:moveTo>
                      <a:pt x="341471" y="72866"/>
                    </a:moveTo>
                    <a:lnTo>
                      <a:pt x="341471" y="72866"/>
                    </a:lnTo>
                    <a:lnTo>
                      <a:pt x="311944" y="72866"/>
                    </a:lnTo>
                    <a:lnTo>
                      <a:pt x="290989" y="36671"/>
                    </a:lnTo>
                    <a:lnTo>
                      <a:pt x="363379" y="36671"/>
                    </a:lnTo>
                    <a:lnTo>
                      <a:pt x="341471" y="72866"/>
                    </a:lnTo>
                    <a:close/>
                  </a:path>
                </a:pathLst>
              </a:custGeom>
              <a:solidFill>
                <a:srgbClr val="00E7CF"/>
              </a:solidFill>
              <a:ln w="9525" cap="flat">
                <a:noFill/>
                <a:prstDash val="solid"/>
                <a:miter/>
              </a:ln>
            </p:spPr>
            <p:txBody>
              <a:bodyPr rtlCol="0" anchor="ctr"/>
              <a:lstStyle/>
              <a:p>
                <a:endParaRPr lang="en-IN"/>
              </a:p>
            </p:txBody>
          </p:sp>
        </p:grpSp>
        <p:sp>
          <p:nvSpPr>
            <p:cNvPr id="137" name="Freeform: Shape 136">
              <a:extLst>
                <a:ext uri="{FF2B5EF4-FFF2-40B4-BE49-F238E27FC236}">
                  <a16:creationId xmlns:a16="http://schemas.microsoft.com/office/drawing/2014/main" id="{83B5B691-A172-46FF-B04B-08C63F01AC35}"/>
                </a:ext>
              </a:extLst>
            </p:cNvPr>
            <p:cNvSpPr/>
            <p:nvPr/>
          </p:nvSpPr>
          <p:spPr bwMode="auto">
            <a:xfrm>
              <a:off x="-2675312" y="2206485"/>
              <a:ext cx="1135380" cy="811499"/>
            </a:xfrm>
            <a:custGeom>
              <a:avLst/>
              <a:gdLst>
                <a:gd name="connsiteX0" fmla="*/ 0 w 1135380"/>
                <a:gd name="connsiteY0" fmla="*/ 0 h 811499"/>
                <a:gd name="connsiteX1" fmla="*/ 1135380 w 1135380"/>
                <a:gd name="connsiteY1" fmla="*/ 0 h 811499"/>
                <a:gd name="connsiteX2" fmla="*/ 1135380 w 1135380"/>
                <a:gd name="connsiteY2" fmla="*/ 811499 h 811499"/>
                <a:gd name="connsiteX3" fmla="*/ 407670 w 1135380"/>
                <a:gd name="connsiteY3" fmla="*/ 811499 h 811499"/>
                <a:gd name="connsiteX4" fmla="*/ 407670 w 1135380"/>
                <a:gd name="connsiteY4" fmla="*/ 751976 h 811499"/>
                <a:gd name="connsiteX5" fmla="*/ 1075857 w 1135380"/>
                <a:gd name="connsiteY5" fmla="*/ 751976 h 811499"/>
                <a:gd name="connsiteX6" fmla="*/ 1075857 w 1135380"/>
                <a:gd name="connsiteY6" fmla="*/ 59523 h 811499"/>
                <a:gd name="connsiteX7" fmla="*/ 59523 w 1135380"/>
                <a:gd name="connsiteY7" fmla="*/ 59523 h 811499"/>
                <a:gd name="connsiteX8" fmla="*/ 59523 w 1135380"/>
                <a:gd name="connsiteY8" fmla="*/ 278741 h 811499"/>
                <a:gd name="connsiteX9" fmla="*/ 0 w 1135380"/>
                <a:gd name="connsiteY9" fmla="*/ 278741 h 81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5380" h="811499">
                  <a:moveTo>
                    <a:pt x="0" y="0"/>
                  </a:moveTo>
                  <a:lnTo>
                    <a:pt x="1135380" y="0"/>
                  </a:lnTo>
                  <a:lnTo>
                    <a:pt x="1135380" y="811499"/>
                  </a:lnTo>
                  <a:lnTo>
                    <a:pt x="407670" y="811499"/>
                  </a:lnTo>
                  <a:lnTo>
                    <a:pt x="407670" y="751976"/>
                  </a:lnTo>
                  <a:lnTo>
                    <a:pt x="1075857" y="751976"/>
                  </a:lnTo>
                  <a:lnTo>
                    <a:pt x="1075857" y="59523"/>
                  </a:lnTo>
                  <a:lnTo>
                    <a:pt x="59523" y="59523"/>
                  </a:lnTo>
                  <a:lnTo>
                    <a:pt x="59523" y="278741"/>
                  </a:lnTo>
                  <a:lnTo>
                    <a:pt x="0" y="278741"/>
                  </a:lnTo>
                  <a:close/>
                </a:path>
              </a:pathLst>
            </a:custGeom>
            <a:solidFill>
              <a:schemeClr val="bg1"/>
            </a:solidFill>
            <a:ln w="9525" cap="flat">
              <a:noFill/>
              <a:prstDash val="solid"/>
              <a:miter/>
            </a:ln>
          </p:spPr>
          <p:txBody>
            <a:bodyPr rtlCol="0" anchor="ctr"/>
            <a:lstStyle/>
            <a:p>
              <a:endParaRPr lang="en-US">
                <a:solidFill>
                  <a:schemeClr val="tx1"/>
                </a:solidFill>
              </a:endParaRPr>
            </a:p>
          </p:txBody>
        </p:sp>
        <p:grpSp>
          <p:nvGrpSpPr>
            <p:cNvPr id="16" name="Group 15">
              <a:extLst>
                <a:ext uri="{FF2B5EF4-FFF2-40B4-BE49-F238E27FC236}">
                  <a16:creationId xmlns:a16="http://schemas.microsoft.com/office/drawing/2014/main" id="{4BF9EC1F-B8E5-4D6B-B19D-561669EB04D7}"/>
                </a:ext>
              </a:extLst>
            </p:cNvPr>
            <p:cNvGrpSpPr/>
            <p:nvPr/>
          </p:nvGrpSpPr>
          <p:grpSpPr>
            <a:xfrm>
              <a:off x="-2419350" y="2412839"/>
              <a:ext cx="717479" cy="336075"/>
              <a:chOff x="-2419350" y="2412839"/>
              <a:chExt cx="717479" cy="336075"/>
            </a:xfrm>
          </p:grpSpPr>
          <p:sp>
            <p:nvSpPr>
              <p:cNvPr id="10" name="Freeform: Shape 9">
                <a:extLst>
                  <a:ext uri="{FF2B5EF4-FFF2-40B4-BE49-F238E27FC236}">
                    <a16:creationId xmlns:a16="http://schemas.microsoft.com/office/drawing/2014/main" id="{54CD0802-B932-40FF-9D58-0058712AAD31}"/>
                  </a:ext>
                </a:extLst>
              </p:cNvPr>
              <p:cNvSpPr/>
              <p:nvPr/>
            </p:nvSpPr>
            <p:spPr bwMode="auto">
              <a:xfrm>
                <a:off x="-2419350" y="2465069"/>
                <a:ext cx="681990" cy="283845"/>
              </a:xfrm>
              <a:custGeom>
                <a:avLst/>
                <a:gdLst>
                  <a:gd name="connsiteX0" fmla="*/ 0 w 681990"/>
                  <a:gd name="connsiteY0" fmla="*/ 243840 h 304800"/>
                  <a:gd name="connsiteX1" fmla="*/ 266700 w 681990"/>
                  <a:gd name="connsiteY1" fmla="*/ 45720 h 304800"/>
                  <a:gd name="connsiteX2" fmla="*/ 358140 w 681990"/>
                  <a:gd name="connsiteY2" fmla="*/ 201930 h 304800"/>
                  <a:gd name="connsiteX3" fmla="*/ 647700 w 681990"/>
                  <a:gd name="connsiteY3" fmla="*/ 0 h 304800"/>
                  <a:gd name="connsiteX4" fmla="*/ 681990 w 681990"/>
                  <a:gd name="connsiteY4" fmla="*/ 38100 h 304800"/>
                  <a:gd name="connsiteX5" fmla="*/ 346710 w 681990"/>
                  <a:gd name="connsiteY5" fmla="*/ 262890 h 304800"/>
                  <a:gd name="connsiteX6" fmla="*/ 251460 w 681990"/>
                  <a:gd name="connsiteY6" fmla="*/ 106680 h 304800"/>
                  <a:gd name="connsiteX7" fmla="*/ 26670 w 681990"/>
                  <a:gd name="connsiteY7" fmla="*/ 304800 h 304800"/>
                  <a:gd name="connsiteX8" fmla="*/ 0 w 681990"/>
                  <a:gd name="connsiteY8" fmla="*/ 243840 h 304800"/>
                  <a:gd name="connsiteX0" fmla="*/ 0 w 681990"/>
                  <a:gd name="connsiteY0" fmla="*/ 243840 h 283845"/>
                  <a:gd name="connsiteX1" fmla="*/ 266700 w 681990"/>
                  <a:gd name="connsiteY1" fmla="*/ 45720 h 283845"/>
                  <a:gd name="connsiteX2" fmla="*/ 358140 w 681990"/>
                  <a:gd name="connsiteY2" fmla="*/ 201930 h 283845"/>
                  <a:gd name="connsiteX3" fmla="*/ 647700 w 681990"/>
                  <a:gd name="connsiteY3" fmla="*/ 0 h 283845"/>
                  <a:gd name="connsiteX4" fmla="*/ 681990 w 681990"/>
                  <a:gd name="connsiteY4" fmla="*/ 38100 h 283845"/>
                  <a:gd name="connsiteX5" fmla="*/ 346710 w 681990"/>
                  <a:gd name="connsiteY5" fmla="*/ 262890 h 283845"/>
                  <a:gd name="connsiteX6" fmla="*/ 251460 w 681990"/>
                  <a:gd name="connsiteY6" fmla="*/ 106680 h 283845"/>
                  <a:gd name="connsiteX7" fmla="*/ 20955 w 681990"/>
                  <a:gd name="connsiteY7" fmla="*/ 283845 h 283845"/>
                  <a:gd name="connsiteX8" fmla="*/ 0 w 681990"/>
                  <a:gd name="connsiteY8" fmla="*/ 243840 h 28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1990" h="283845">
                    <a:moveTo>
                      <a:pt x="0" y="243840"/>
                    </a:moveTo>
                    <a:lnTo>
                      <a:pt x="266700" y="45720"/>
                    </a:lnTo>
                    <a:lnTo>
                      <a:pt x="358140" y="201930"/>
                    </a:lnTo>
                    <a:lnTo>
                      <a:pt x="647700" y="0"/>
                    </a:lnTo>
                    <a:lnTo>
                      <a:pt x="681990" y="38100"/>
                    </a:lnTo>
                    <a:lnTo>
                      <a:pt x="346710" y="262890"/>
                    </a:lnTo>
                    <a:lnTo>
                      <a:pt x="251460" y="106680"/>
                    </a:lnTo>
                    <a:lnTo>
                      <a:pt x="20955" y="283845"/>
                    </a:lnTo>
                    <a:lnTo>
                      <a:pt x="0" y="243840"/>
                    </a:lnTo>
                    <a:close/>
                  </a:path>
                </a:pathLst>
              </a:custGeom>
              <a:solidFill>
                <a:srgbClr val="00E7CF"/>
              </a:solidFill>
              <a:ln w="9525" cap="flat">
                <a:noFill/>
                <a:prstDash val="solid"/>
                <a:miter/>
              </a:ln>
            </p:spPr>
            <p:txBody>
              <a:bodyPr rtlCol="0" anchor="ctr"/>
              <a:lstStyle/>
              <a:p>
                <a:endParaRPr lang="en-US">
                  <a:solidFill>
                    <a:schemeClr val="tx1"/>
                  </a:solidFill>
                </a:endParaRPr>
              </a:p>
            </p:txBody>
          </p:sp>
          <p:sp>
            <p:nvSpPr>
              <p:cNvPr id="11" name="Isosceles Triangle 10">
                <a:extLst>
                  <a:ext uri="{FF2B5EF4-FFF2-40B4-BE49-F238E27FC236}">
                    <a16:creationId xmlns:a16="http://schemas.microsoft.com/office/drawing/2014/main" id="{1B84A075-8044-47EC-A92F-1D4A209E393E}"/>
                  </a:ext>
                </a:extLst>
              </p:cNvPr>
              <p:cNvSpPr/>
              <p:nvPr/>
            </p:nvSpPr>
            <p:spPr bwMode="auto">
              <a:xfrm rot="3192519">
                <a:off x="-1804747" y="2430686"/>
                <a:ext cx="120724" cy="85029"/>
              </a:xfrm>
              <a:prstGeom prst="triangle">
                <a:avLst/>
              </a:prstGeom>
              <a:solidFill>
                <a:srgbClr val="00E7CF"/>
              </a:solidFill>
              <a:ln w="9525" cap="flat">
                <a:noFill/>
                <a:prstDash val="solid"/>
                <a:miter/>
              </a:ln>
            </p:spPr>
            <p:txBody>
              <a:bodyPr rtlCol="0" anchor="ctr"/>
              <a:lstStyle/>
              <a:p>
                <a:endParaRPr lang="en-US">
                  <a:solidFill>
                    <a:schemeClr val="tx1"/>
                  </a:solidFill>
                </a:endParaRPr>
              </a:p>
            </p:txBody>
          </p:sp>
        </p:grpSp>
      </p:grpSp>
      <p:grpSp>
        <p:nvGrpSpPr>
          <p:cNvPr id="138" name="Group 137">
            <a:extLst>
              <a:ext uri="{FF2B5EF4-FFF2-40B4-BE49-F238E27FC236}">
                <a16:creationId xmlns:a16="http://schemas.microsoft.com/office/drawing/2014/main" id="{8B3CE1C8-1EE3-4407-9407-502C4150EF09}"/>
              </a:ext>
              <a:ext uri="{C183D7F6-B498-43B3-948B-1728B52AA6E4}">
                <adec:decorative xmlns:adec="http://schemas.microsoft.com/office/drawing/2017/decorative" val="1"/>
              </a:ext>
            </a:extLst>
          </p:cNvPr>
          <p:cNvGrpSpPr/>
          <p:nvPr/>
        </p:nvGrpSpPr>
        <p:grpSpPr>
          <a:xfrm>
            <a:off x="799394" y="5113018"/>
            <a:ext cx="420483" cy="386394"/>
            <a:chOff x="3848315" y="2854269"/>
            <a:chExt cx="180212" cy="166560"/>
          </a:xfrm>
        </p:grpSpPr>
        <p:sp>
          <p:nvSpPr>
            <p:cNvPr id="139" name="Freeform: Shape 138">
              <a:extLst>
                <a:ext uri="{FF2B5EF4-FFF2-40B4-BE49-F238E27FC236}">
                  <a16:creationId xmlns:a16="http://schemas.microsoft.com/office/drawing/2014/main" id="{D344B84B-1C86-48BE-B4CF-00FF96A28A73}"/>
                </a:ext>
              </a:extLst>
            </p:cNvPr>
            <p:cNvSpPr/>
            <p:nvPr/>
          </p:nvSpPr>
          <p:spPr>
            <a:xfrm>
              <a:off x="3848315" y="2854269"/>
              <a:ext cx="121450" cy="166560"/>
            </a:xfrm>
            <a:custGeom>
              <a:avLst/>
              <a:gdLst>
                <a:gd name="connsiteX0" fmla="*/ 241548 w 333375"/>
                <a:gd name="connsiteY0" fmla="*/ 144730 h 457200"/>
                <a:gd name="connsiteX1" fmla="*/ 190110 w 333375"/>
                <a:gd name="connsiteY1" fmla="*/ 93296 h 457200"/>
                <a:gd name="connsiteX2" fmla="*/ 190110 w 333375"/>
                <a:gd name="connsiteY2" fmla="*/ 16715 h 457200"/>
                <a:gd name="connsiteX3" fmla="*/ 191819 w 333375"/>
                <a:gd name="connsiteY3" fmla="*/ 7144 h 457200"/>
                <a:gd name="connsiteX4" fmla="*/ 39495 w 333375"/>
                <a:gd name="connsiteY4" fmla="*/ 7144 h 457200"/>
                <a:gd name="connsiteX5" fmla="*/ 7144 w 333375"/>
                <a:gd name="connsiteY5" fmla="*/ 39486 h 457200"/>
                <a:gd name="connsiteX6" fmla="*/ 7144 w 333375"/>
                <a:gd name="connsiteY6" fmla="*/ 421258 h 457200"/>
                <a:gd name="connsiteX7" fmla="*/ 39495 w 333375"/>
                <a:gd name="connsiteY7" fmla="*/ 453605 h 457200"/>
                <a:gd name="connsiteX8" fmla="*/ 295340 w 333375"/>
                <a:gd name="connsiteY8" fmla="*/ 453605 h 457200"/>
                <a:gd name="connsiteX9" fmla="*/ 327682 w 333375"/>
                <a:gd name="connsiteY9" fmla="*/ 421258 h 457200"/>
                <a:gd name="connsiteX10" fmla="*/ 327682 w 333375"/>
                <a:gd name="connsiteY10" fmla="*/ 143010 h 457200"/>
                <a:gd name="connsiteX11" fmla="*/ 318130 w 333375"/>
                <a:gd name="connsiteY11" fmla="*/ 144730 h 457200"/>
                <a:gd name="connsiteX12" fmla="*/ 241548 w 333375"/>
                <a:gd name="connsiteY12" fmla="*/ 144730 h 457200"/>
                <a:gd name="connsiteX13" fmla="*/ 68545 w 333375"/>
                <a:gd name="connsiteY13" fmla="*/ 88325 h 457200"/>
                <a:gd name="connsiteX14" fmla="*/ 166399 w 333375"/>
                <a:gd name="connsiteY14" fmla="*/ 88325 h 457200"/>
                <a:gd name="connsiteX15" fmla="*/ 175924 w 333375"/>
                <a:gd name="connsiteY15" fmla="*/ 97850 h 457200"/>
                <a:gd name="connsiteX16" fmla="*/ 166399 w 333375"/>
                <a:gd name="connsiteY16" fmla="*/ 107375 h 457200"/>
                <a:gd name="connsiteX17" fmla="*/ 68545 w 333375"/>
                <a:gd name="connsiteY17" fmla="*/ 107375 h 457200"/>
                <a:gd name="connsiteX18" fmla="*/ 59020 w 333375"/>
                <a:gd name="connsiteY18" fmla="*/ 97850 h 457200"/>
                <a:gd name="connsiteX19" fmla="*/ 68545 w 333375"/>
                <a:gd name="connsiteY19" fmla="*/ 88325 h 457200"/>
                <a:gd name="connsiteX20" fmla="*/ 254422 w 333375"/>
                <a:gd name="connsiteY20" fmla="*/ 389809 h 457200"/>
                <a:gd name="connsiteX21" fmla="*/ 68545 w 333375"/>
                <a:gd name="connsiteY21" fmla="*/ 389809 h 457200"/>
                <a:gd name="connsiteX22" fmla="*/ 59020 w 333375"/>
                <a:gd name="connsiteY22" fmla="*/ 380284 h 457200"/>
                <a:gd name="connsiteX23" fmla="*/ 68545 w 333375"/>
                <a:gd name="connsiteY23" fmla="*/ 370759 h 457200"/>
                <a:gd name="connsiteX24" fmla="*/ 254422 w 333375"/>
                <a:gd name="connsiteY24" fmla="*/ 370759 h 457200"/>
                <a:gd name="connsiteX25" fmla="*/ 263947 w 333375"/>
                <a:gd name="connsiteY25" fmla="*/ 380284 h 457200"/>
                <a:gd name="connsiteX26" fmla="*/ 254422 w 333375"/>
                <a:gd name="connsiteY26" fmla="*/ 389809 h 457200"/>
                <a:gd name="connsiteX27" fmla="*/ 254422 w 333375"/>
                <a:gd name="connsiteY27" fmla="*/ 315451 h 457200"/>
                <a:gd name="connsiteX28" fmla="*/ 68545 w 333375"/>
                <a:gd name="connsiteY28" fmla="*/ 315451 h 457200"/>
                <a:gd name="connsiteX29" fmla="*/ 59020 w 333375"/>
                <a:gd name="connsiteY29" fmla="*/ 305926 h 457200"/>
                <a:gd name="connsiteX30" fmla="*/ 68545 w 333375"/>
                <a:gd name="connsiteY30" fmla="*/ 296401 h 457200"/>
                <a:gd name="connsiteX31" fmla="*/ 254422 w 333375"/>
                <a:gd name="connsiteY31" fmla="*/ 296401 h 457200"/>
                <a:gd name="connsiteX32" fmla="*/ 263947 w 333375"/>
                <a:gd name="connsiteY32" fmla="*/ 305926 h 457200"/>
                <a:gd name="connsiteX33" fmla="*/ 254422 w 333375"/>
                <a:gd name="connsiteY33" fmla="*/ 315451 h 457200"/>
                <a:gd name="connsiteX34" fmla="*/ 254422 w 333375"/>
                <a:gd name="connsiteY34" fmla="*/ 241097 h 457200"/>
                <a:gd name="connsiteX35" fmla="*/ 68545 w 333375"/>
                <a:gd name="connsiteY35" fmla="*/ 241097 h 457200"/>
                <a:gd name="connsiteX36" fmla="*/ 59020 w 333375"/>
                <a:gd name="connsiteY36" fmla="*/ 231572 h 457200"/>
                <a:gd name="connsiteX37" fmla="*/ 68545 w 333375"/>
                <a:gd name="connsiteY37" fmla="*/ 222047 h 457200"/>
                <a:gd name="connsiteX38" fmla="*/ 254422 w 333375"/>
                <a:gd name="connsiteY38" fmla="*/ 222047 h 457200"/>
                <a:gd name="connsiteX39" fmla="*/ 263947 w 333375"/>
                <a:gd name="connsiteY39" fmla="*/ 231572 h 457200"/>
                <a:gd name="connsiteX40" fmla="*/ 254422 w 333375"/>
                <a:gd name="connsiteY40" fmla="*/ 241097 h 457200"/>
                <a:gd name="connsiteX41" fmla="*/ 254422 w 333375"/>
                <a:gd name="connsiteY41" fmla="*/ 166744 h 457200"/>
                <a:gd name="connsiteX42" fmla="*/ 68545 w 333375"/>
                <a:gd name="connsiteY42" fmla="*/ 166744 h 457200"/>
                <a:gd name="connsiteX43" fmla="*/ 59020 w 333375"/>
                <a:gd name="connsiteY43" fmla="*/ 157219 h 457200"/>
                <a:gd name="connsiteX44" fmla="*/ 68545 w 333375"/>
                <a:gd name="connsiteY44" fmla="*/ 147694 h 457200"/>
                <a:gd name="connsiteX45" fmla="*/ 254422 w 333375"/>
                <a:gd name="connsiteY45" fmla="*/ 147694 h 457200"/>
                <a:gd name="connsiteX46" fmla="*/ 263947 w 333375"/>
                <a:gd name="connsiteY46" fmla="*/ 157219 h 457200"/>
                <a:gd name="connsiteX47" fmla="*/ 254422 w 333375"/>
                <a:gd name="connsiteY47" fmla="*/ 1667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33375" h="457200">
                  <a:moveTo>
                    <a:pt x="241548" y="144730"/>
                  </a:moveTo>
                  <a:cubicBezTo>
                    <a:pt x="213187" y="144730"/>
                    <a:pt x="190110" y="121658"/>
                    <a:pt x="190110" y="93296"/>
                  </a:cubicBezTo>
                  <a:lnTo>
                    <a:pt x="190110" y="16715"/>
                  </a:lnTo>
                  <a:cubicBezTo>
                    <a:pt x="190110" y="13380"/>
                    <a:pt x="190744" y="10169"/>
                    <a:pt x="191819" y="7144"/>
                  </a:cubicBezTo>
                  <a:lnTo>
                    <a:pt x="39495" y="7144"/>
                  </a:lnTo>
                  <a:cubicBezTo>
                    <a:pt x="21655" y="7144"/>
                    <a:pt x="7144" y="21655"/>
                    <a:pt x="7144" y="39486"/>
                  </a:cubicBezTo>
                  <a:lnTo>
                    <a:pt x="7144" y="421258"/>
                  </a:lnTo>
                  <a:cubicBezTo>
                    <a:pt x="7144" y="439094"/>
                    <a:pt x="21655" y="453605"/>
                    <a:pt x="39495" y="453605"/>
                  </a:cubicBezTo>
                  <a:lnTo>
                    <a:pt x="295340" y="453605"/>
                  </a:lnTo>
                  <a:cubicBezTo>
                    <a:pt x="313172" y="453605"/>
                    <a:pt x="327682" y="439094"/>
                    <a:pt x="327682" y="421258"/>
                  </a:cubicBezTo>
                  <a:lnTo>
                    <a:pt x="327682" y="143010"/>
                  </a:lnTo>
                  <a:cubicBezTo>
                    <a:pt x="324657" y="144094"/>
                    <a:pt x="321453" y="144730"/>
                    <a:pt x="318130" y="144730"/>
                  </a:cubicBezTo>
                  <a:lnTo>
                    <a:pt x="241548" y="144730"/>
                  </a:lnTo>
                  <a:close/>
                  <a:moveTo>
                    <a:pt x="68545" y="88325"/>
                  </a:moveTo>
                  <a:lnTo>
                    <a:pt x="166399" y="88325"/>
                  </a:lnTo>
                  <a:cubicBezTo>
                    <a:pt x="171664" y="88325"/>
                    <a:pt x="175924" y="92589"/>
                    <a:pt x="175924" y="97850"/>
                  </a:cubicBezTo>
                  <a:cubicBezTo>
                    <a:pt x="175924" y="103110"/>
                    <a:pt x="171664" y="107375"/>
                    <a:pt x="166399" y="107375"/>
                  </a:cubicBezTo>
                  <a:lnTo>
                    <a:pt x="68545" y="107375"/>
                  </a:lnTo>
                  <a:cubicBezTo>
                    <a:pt x="63280" y="107375"/>
                    <a:pt x="59020" y="103110"/>
                    <a:pt x="59020" y="97850"/>
                  </a:cubicBezTo>
                  <a:cubicBezTo>
                    <a:pt x="59020" y="92589"/>
                    <a:pt x="63280" y="88325"/>
                    <a:pt x="68545" y="88325"/>
                  </a:cubicBezTo>
                  <a:close/>
                  <a:moveTo>
                    <a:pt x="254422" y="389809"/>
                  </a:moveTo>
                  <a:lnTo>
                    <a:pt x="68545" y="389809"/>
                  </a:lnTo>
                  <a:cubicBezTo>
                    <a:pt x="63280" y="389809"/>
                    <a:pt x="59020" y="385544"/>
                    <a:pt x="59020" y="380284"/>
                  </a:cubicBezTo>
                  <a:cubicBezTo>
                    <a:pt x="59020" y="375024"/>
                    <a:pt x="63280" y="370759"/>
                    <a:pt x="68545" y="370759"/>
                  </a:cubicBezTo>
                  <a:lnTo>
                    <a:pt x="254422" y="370759"/>
                  </a:lnTo>
                  <a:cubicBezTo>
                    <a:pt x="259686" y="370759"/>
                    <a:pt x="263947" y="375024"/>
                    <a:pt x="263947" y="380284"/>
                  </a:cubicBezTo>
                  <a:cubicBezTo>
                    <a:pt x="263947" y="385544"/>
                    <a:pt x="259686" y="389809"/>
                    <a:pt x="254422" y="389809"/>
                  </a:cubicBezTo>
                  <a:close/>
                  <a:moveTo>
                    <a:pt x="254422" y="315451"/>
                  </a:moveTo>
                  <a:lnTo>
                    <a:pt x="68545" y="315451"/>
                  </a:lnTo>
                  <a:cubicBezTo>
                    <a:pt x="63280" y="315451"/>
                    <a:pt x="59020" y="311185"/>
                    <a:pt x="59020" y="305926"/>
                  </a:cubicBezTo>
                  <a:cubicBezTo>
                    <a:pt x="59020" y="300665"/>
                    <a:pt x="63280" y="296401"/>
                    <a:pt x="68545" y="296401"/>
                  </a:cubicBezTo>
                  <a:lnTo>
                    <a:pt x="254422" y="296401"/>
                  </a:lnTo>
                  <a:cubicBezTo>
                    <a:pt x="259686" y="296401"/>
                    <a:pt x="263947" y="300665"/>
                    <a:pt x="263947" y="305926"/>
                  </a:cubicBezTo>
                  <a:cubicBezTo>
                    <a:pt x="263947" y="311185"/>
                    <a:pt x="259686" y="315451"/>
                    <a:pt x="254422" y="315451"/>
                  </a:cubicBezTo>
                  <a:close/>
                  <a:moveTo>
                    <a:pt x="254422" y="241097"/>
                  </a:moveTo>
                  <a:lnTo>
                    <a:pt x="68545" y="241097"/>
                  </a:lnTo>
                  <a:cubicBezTo>
                    <a:pt x="63280" y="241097"/>
                    <a:pt x="59020" y="236832"/>
                    <a:pt x="59020" y="231572"/>
                  </a:cubicBezTo>
                  <a:cubicBezTo>
                    <a:pt x="59020" y="226312"/>
                    <a:pt x="63280" y="222047"/>
                    <a:pt x="68545" y="222047"/>
                  </a:cubicBezTo>
                  <a:lnTo>
                    <a:pt x="254422" y="222047"/>
                  </a:lnTo>
                  <a:cubicBezTo>
                    <a:pt x="259686" y="222047"/>
                    <a:pt x="263947" y="226312"/>
                    <a:pt x="263947" y="231572"/>
                  </a:cubicBezTo>
                  <a:cubicBezTo>
                    <a:pt x="263947" y="236832"/>
                    <a:pt x="259686" y="241097"/>
                    <a:pt x="254422" y="241097"/>
                  </a:cubicBezTo>
                  <a:close/>
                  <a:moveTo>
                    <a:pt x="254422" y="166744"/>
                  </a:moveTo>
                  <a:lnTo>
                    <a:pt x="68545" y="166744"/>
                  </a:lnTo>
                  <a:cubicBezTo>
                    <a:pt x="63280" y="166744"/>
                    <a:pt x="59020" y="162478"/>
                    <a:pt x="59020" y="157219"/>
                  </a:cubicBezTo>
                  <a:cubicBezTo>
                    <a:pt x="59020" y="151958"/>
                    <a:pt x="63280" y="147694"/>
                    <a:pt x="68545" y="147694"/>
                  </a:cubicBezTo>
                  <a:lnTo>
                    <a:pt x="254422" y="147694"/>
                  </a:lnTo>
                  <a:cubicBezTo>
                    <a:pt x="259686" y="147694"/>
                    <a:pt x="263947" y="151958"/>
                    <a:pt x="263947" y="157219"/>
                  </a:cubicBezTo>
                  <a:cubicBezTo>
                    <a:pt x="263947" y="162478"/>
                    <a:pt x="259686" y="166744"/>
                    <a:pt x="254422" y="166744"/>
                  </a:cubicBezTo>
                  <a:close/>
                </a:path>
              </a:pathLst>
            </a:custGeom>
            <a:solidFill>
              <a:schemeClr val="bg1"/>
            </a:solidFill>
            <a:ln w="9525" cap="flat">
              <a:noFill/>
              <a:prstDash val="solid"/>
              <a:miter/>
            </a:ln>
          </p:spPr>
          <p:txBody>
            <a:bodyPr rtlCol="0" anchor="ctr"/>
            <a:lstStyle/>
            <a:p>
              <a:endParaRPr lang="en-IN"/>
            </a:p>
          </p:txBody>
        </p:sp>
        <p:sp>
          <p:nvSpPr>
            <p:cNvPr id="140" name="Freeform: Shape 139">
              <a:extLst>
                <a:ext uri="{FF2B5EF4-FFF2-40B4-BE49-F238E27FC236}">
                  <a16:creationId xmlns:a16="http://schemas.microsoft.com/office/drawing/2014/main" id="{687441F1-26E8-4301-A143-819A6CB0DEE9}"/>
                </a:ext>
              </a:extLst>
            </p:cNvPr>
            <p:cNvSpPr/>
            <p:nvPr/>
          </p:nvSpPr>
          <p:spPr>
            <a:xfrm>
              <a:off x="3921911" y="2854272"/>
              <a:ext cx="45110" cy="45110"/>
            </a:xfrm>
            <a:custGeom>
              <a:avLst/>
              <a:gdLst>
                <a:gd name="connsiteX0" fmla="*/ 39529 w 123825"/>
                <a:gd name="connsiteY0" fmla="*/ 125674 h 123825"/>
                <a:gd name="connsiteX1" fmla="*/ 116110 w 123825"/>
                <a:gd name="connsiteY1" fmla="*/ 125674 h 123825"/>
                <a:gd name="connsiteX2" fmla="*/ 124968 w 123825"/>
                <a:gd name="connsiteY2" fmla="*/ 119768 h 123825"/>
                <a:gd name="connsiteX3" fmla="*/ 122873 w 123825"/>
                <a:gd name="connsiteY3" fmla="*/ 109386 h 123825"/>
                <a:gd name="connsiteX4" fmla="*/ 23432 w 123825"/>
                <a:gd name="connsiteY4" fmla="*/ 9945 h 123825"/>
                <a:gd name="connsiteX5" fmla="*/ 13049 w 123825"/>
                <a:gd name="connsiteY5" fmla="*/ 7849 h 123825"/>
                <a:gd name="connsiteX6" fmla="*/ 7144 w 123825"/>
                <a:gd name="connsiteY6" fmla="*/ 16708 h 123825"/>
                <a:gd name="connsiteX7" fmla="*/ 7144 w 123825"/>
                <a:gd name="connsiteY7" fmla="*/ 93289 h 123825"/>
                <a:gd name="connsiteX8" fmla="*/ 39529 w 123825"/>
                <a:gd name="connsiteY8" fmla="*/ 12567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23825">
                  <a:moveTo>
                    <a:pt x="39529" y="125674"/>
                  </a:moveTo>
                  <a:lnTo>
                    <a:pt x="116110" y="125674"/>
                  </a:lnTo>
                  <a:cubicBezTo>
                    <a:pt x="120015" y="125674"/>
                    <a:pt x="123444" y="123292"/>
                    <a:pt x="124968" y="119768"/>
                  </a:cubicBezTo>
                  <a:cubicBezTo>
                    <a:pt x="126397" y="116244"/>
                    <a:pt x="125635" y="112148"/>
                    <a:pt x="122873" y="109386"/>
                  </a:cubicBezTo>
                  <a:lnTo>
                    <a:pt x="23432" y="9945"/>
                  </a:lnTo>
                  <a:cubicBezTo>
                    <a:pt x="20669" y="7183"/>
                    <a:pt x="16573" y="6421"/>
                    <a:pt x="13049" y="7849"/>
                  </a:cubicBezTo>
                  <a:cubicBezTo>
                    <a:pt x="9430" y="9373"/>
                    <a:pt x="7144" y="12802"/>
                    <a:pt x="7144" y="16708"/>
                  </a:cubicBezTo>
                  <a:lnTo>
                    <a:pt x="7144" y="93289"/>
                  </a:lnTo>
                  <a:cubicBezTo>
                    <a:pt x="7144" y="111100"/>
                    <a:pt x="21622" y="125674"/>
                    <a:pt x="39529" y="125674"/>
                  </a:cubicBezTo>
                  <a:close/>
                </a:path>
              </a:pathLst>
            </a:custGeom>
            <a:solidFill>
              <a:schemeClr val="bg1"/>
            </a:solidFill>
            <a:ln w="9525" cap="flat">
              <a:noFill/>
              <a:prstDash val="solid"/>
              <a:miter/>
            </a:ln>
          </p:spPr>
          <p:txBody>
            <a:bodyPr rtlCol="0" anchor="ctr"/>
            <a:lstStyle/>
            <a:p>
              <a:endParaRPr lang="en-IN"/>
            </a:p>
          </p:txBody>
        </p:sp>
        <p:sp>
          <p:nvSpPr>
            <p:cNvPr id="141" name="Freeform: Shape 140">
              <a:extLst>
                <a:ext uri="{FF2B5EF4-FFF2-40B4-BE49-F238E27FC236}">
                  <a16:creationId xmlns:a16="http://schemas.microsoft.com/office/drawing/2014/main" id="{8A6F87F5-EC2F-48A4-8745-5F74CF37A33A}"/>
                </a:ext>
              </a:extLst>
            </p:cNvPr>
            <p:cNvSpPr/>
            <p:nvPr/>
          </p:nvSpPr>
          <p:spPr>
            <a:xfrm>
              <a:off x="3982792" y="2866188"/>
              <a:ext cx="34700" cy="27760"/>
            </a:xfrm>
            <a:custGeom>
              <a:avLst/>
              <a:gdLst>
                <a:gd name="connsiteX0" fmla="*/ 72962 w 95250"/>
                <a:gd name="connsiteY0" fmla="*/ 7144 h 76200"/>
                <a:gd name="connsiteX1" fmla="*/ 28670 w 95250"/>
                <a:gd name="connsiteY1" fmla="*/ 7144 h 76200"/>
                <a:gd name="connsiteX2" fmla="*/ 7144 w 95250"/>
                <a:gd name="connsiteY2" fmla="*/ 32385 h 76200"/>
                <a:gd name="connsiteX3" fmla="*/ 7144 w 95250"/>
                <a:gd name="connsiteY3" fmla="*/ 69913 h 76200"/>
                <a:gd name="connsiteX4" fmla="*/ 94583 w 95250"/>
                <a:gd name="connsiteY4" fmla="*/ 69913 h 76200"/>
                <a:gd name="connsiteX5" fmla="*/ 94583 w 95250"/>
                <a:gd name="connsiteY5" fmla="*/ 32385 h 76200"/>
                <a:gd name="connsiteX6" fmla="*/ 72962 w 95250"/>
                <a:gd name="connsiteY6" fmla="*/ 7144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76200">
                  <a:moveTo>
                    <a:pt x="72962" y="7144"/>
                  </a:moveTo>
                  <a:lnTo>
                    <a:pt x="28670" y="7144"/>
                  </a:lnTo>
                  <a:cubicBezTo>
                    <a:pt x="16573" y="7144"/>
                    <a:pt x="7144" y="18288"/>
                    <a:pt x="7144" y="32385"/>
                  </a:cubicBezTo>
                  <a:lnTo>
                    <a:pt x="7144" y="69913"/>
                  </a:lnTo>
                  <a:lnTo>
                    <a:pt x="94583" y="69913"/>
                  </a:lnTo>
                  <a:lnTo>
                    <a:pt x="94583" y="32385"/>
                  </a:lnTo>
                  <a:cubicBezTo>
                    <a:pt x="94583" y="18288"/>
                    <a:pt x="85058" y="7144"/>
                    <a:pt x="72962" y="7144"/>
                  </a:cubicBezTo>
                  <a:close/>
                </a:path>
              </a:pathLst>
            </a:custGeom>
            <a:solidFill>
              <a:srgbClr val="00E7CF"/>
            </a:solidFill>
            <a:ln w="9525" cap="flat">
              <a:noFill/>
              <a:prstDash val="solid"/>
              <a:miter/>
            </a:ln>
          </p:spPr>
          <p:txBody>
            <a:bodyPr rtlCol="0" anchor="ctr"/>
            <a:lstStyle/>
            <a:p>
              <a:endParaRPr lang="en-IN"/>
            </a:p>
          </p:txBody>
        </p:sp>
        <p:sp>
          <p:nvSpPr>
            <p:cNvPr id="142" name="Freeform: Shape 141">
              <a:extLst>
                <a:ext uri="{FF2B5EF4-FFF2-40B4-BE49-F238E27FC236}">
                  <a16:creationId xmlns:a16="http://schemas.microsoft.com/office/drawing/2014/main" id="{BF3D1771-BD53-40ED-B384-7C24B85ED477}"/>
                </a:ext>
              </a:extLst>
            </p:cNvPr>
            <p:cNvSpPr/>
            <p:nvPr/>
          </p:nvSpPr>
          <p:spPr>
            <a:xfrm>
              <a:off x="3982792" y="2895995"/>
              <a:ext cx="34700" cy="117980"/>
            </a:xfrm>
            <a:custGeom>
              <a:avLst/>
              <a:gdLst>
                <a:gd name="connsiteX0" fmla="*/ 7144 w 95250"/>
                <a:gd name="connsiteY0" fmla="*/ 7144 h 323850"/>
                <a:gd name="connsiteX1" fmla="*/ 7144 w 95250"/>
                <a:gd name="connsiteY1" fmla="*/ 102584 h 323850"/>
                <a:gd name="connsiteX2" fmla="*/ 41815 w 95250"/>
                <a:gd name="connsiteY2" fmla="*/ 311277 h 323850"/>
                <a:gd name="connsiteX3" fmla="*/ 50864 w 95250"/>
                <a:gd name="connsiteY3" fmla="*/ 317659 h 323850"/>
                <a:gd name="connsiteX4" fmla="*/ 59817 w 95250"/>
                <a:gd name="connsiteY4" fmla="*/ 311277 h 323850"/>
                <a:gd name="connsiteX5" fmla="*/ 94583 w 95250"/>
                <a:gd name="connsiteY5" fmla="*/ 102584 h 323850"/>
                <a:gd name="connsiteX6" fmla="*/ 94583 w 95250"/>
                <a:gd name="connsiteY6" fmla="*/ 7144 h 323850"/>
                <a:gd name="connsiteX7" fmla="*/ 16669 w 95250"/>
                <a:gd name="connsiteY7" fmla="*/ 7144 h 323850"/>
                <a:gd name="connsiteX8" fmla="*/ 7144 w 95250"/>
                <a:gd name="connsiteY8" fmla="*/ 7144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250" h="323850">
                  <a:moveTo>
                    <a:pt x="7144" y="7144"/>
                  </a:moveTo>
                  <a:lnTo>
                    <a:pt x="7144" y="102584"/>
                  </a:lnTo>
                  <a:cubicBezTo>
                    <a:pt x="7144" y="175070"/>
                    <a:pt x="18859" y="245269"/>
                    <a:pt x="41815" y="311277"/>
                  </a:cubicBezTo>
                  <a:cubicBezTo>
                    <a:pt x="43148" y="315087"/>
                    <a:pt x="46768" y="317659"/>
                    <a:pt x="50864" y="317659"/>
                  </a:cubicBezTo>
                  <a:cubicBezTo>
                    <a:pt x="54864" y="317659"/>
                    <a:pt x="58483" y="315087"/>
                    <a:pt x="59817" y="311277"/>
                  </a:cubicBezTo>
                  <a:cubicBezTo>
                    <a:pt x="82868" y="245269"/>
                    <a:pt x="94583" y="175070"/>
                    <a:pt x="94583" y="102584"/>
                  </a:cubicBezTo>
                  <a:lnTo>
                    <a:pt x="94583" y="7144"/>
                  </a:lnTo>
                  <a:lnTo>
                    <a:pt x="16669" y="7144"/>
                  </a:lnTo>
                  <a:lnTo>
                    <a:pt x="7144" y="7144"/>
                  </a:lnTo>
                  <a:close/>
                </a:path>
              </a:pathLst>
            </a:custGeom>
            <a:solidFill>
              <a:srgbClr val="00E7CF"/>
            </a:solidFill>
            <a:ln w="9525" cap="flat">
              <a:noFill/>
              <a:prstDash val="solid"/>
              <a:miter/>
            </a:ln>
          </p:spPr>
          <p:txBody>
            <a:bodyPr rtlCol="0" anchor="ctr"/>
            <a:lstStyle/>
            <a:p>
              <a:endParaRPr lang="en-IN"/>
            </a:p>
          </p:txBody>
        </p:sp>
        <p:sp>
          <p:nvSpPr>
            <p:cNvPr id="143" name="Freeform: Shape 142">
              <a:extLst>
                <a:ext uri="{FF2B5EF4-FFF2-40B4-BE49-F238E27FC236}">
                  <a16:creationId xmlns:a16="http://schemas.microsoft.com/office/drawing/2014/main" id="{607BFB50-025B-4ED5-8D89-E93C57F026C0}"/>
                </a:ext>
              </a:extLst>
            </p:cNvPr>
            <p:cNvSpPr/>
            <p:nvPr/>
          </p:nvSpPr>
          <p:spPr>
            <a:xfrm>
              <a:off x="4014647" y="2889055"/>
              <a:ext cx="13880" cy="58990"/>
            </a:xfrm>
            <a:custGeom>
              <a:avLst/>
              <a:gdLst>
                <a:gd name="connsiteX0" fmla="*/ 30194 w 38100"/>
                <a:gd name="connsiteY0" fmla="*/ 9144 h 161925"/>
                <a:gd name="connsiteX1" fmla="*/ 24384 w 38100"/>
                <a:gd name="connsiteY1" fmla="*/ 7144 h 161925"/>
                <a:gd name="connsiteX2" fmla="*/ 7144 w 38100"/>
                <a:gd name="connsiteY2" fmla="*/ 7144 h 161925"/>
                <a:gd name="connsiteX3" fmla="*/ 7144 w 38100"/>
                <a:gd name="connsiteY3" fmla="*/ 26194 h 161925"/>
                <a:gd name="connsiteX4" fmla="*/ 14859 w 38100"/>
                <a:gd name="connsiteY4" fmla="*/ 26194 h 161925"/>
                <a:gd name="connsiteX5" fmla="*/ 14859 w 38100"/>
                <a:gd name="connsiteY5" fmla="*/ 149828 h 161925"/>
                <a:gd name="connsiteX6" fmla="*/ 24384 w 38100"/>
                <a:gd name="connsiteY6" fmla="*/ 159353 h 161925"/>
                <a:gd name="connsiteX7" fmla="*/ 33909 w 38100"/>
                <a:gd name="connsiteY7" fmla="*/ 149828 h 161925"/>
                <a:gd name="connsiteX8" fmla="*/ 33909 w 38100"/>
                <a:gd name="connsiteY8" fmla="*/ 16669 h 161925"/>
                <a:gd name="connsiteX9" fmla="*/ 30194 w 38100"/>
                <a:gd name="connsiteY9" fmla="*/ 9144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161925">
                  <a:moveTo>
                    <a:pt x="30194" y="9144"/>
                  </a:moveTo>
                  <a:cubicBezTo>
                    <a:pt x="28575" y="7906"/>
                    <a:pt x="26575" y="7144"/>
                    <a:pt x="24384" y="7144"/>
                  </a:cubicBezTo>
                  <a:lnTo>
                    <a:pt x="7144" y="7144"/>
                  </a:lnTo>
                  <a:lnTo>
                    <a:pt x="7144" y="26194"/>
                  </a:lnTo>
                  <a:lnTo>
                    <a:pt x="14859" y="26194"/>
                  </a:lnTo>
                  <a:lnTo>
                    <a:pt x="14859" y="149828"/>
                  </a:lnTo>
                  <a:cubicBezTo>
                    <a:pt x="14859" y="155162"/>
                    <a:pt x="19145" y="159353"/>
                    <a:pt x="24384" y="159353"/>
                  </a:cubicBezTo>
                  <a:cubicBezTo>
                    <a:pt x="29623" y="159353"/>
                    <a:pt x="33909" y="155162"/>
                    <a:pt x="33909" y="149828"/>
                  </a:cubicBezTo>
                  <a:lnTo>
                    <a:pt x="33909" y="16669"/>
                  </a:lnTo>
                  <a:cubicBezTo>
                    <a:pt x="33909" y="13621"/>
                    <a:pt x="32480" y="10858"/>
                    <a:pt x="30194" y="9144"/>
                  </a:cubicBezTo>
                  <a:close/>
                </a:path>
              </a:pathLst>
            </a:custGeom>
            <a:solidFill>
              <a:srgbClr val="00E7CF"/>
            </a:solidFill>
            <a:ln w="9525" cap="flat">
              <a:noFill/>
              <a:prstDash val="solid"/>
              <a:miter/>
            </a:ln>
          </p:spPr>
          <p:txBody>
            <a:bodyPr rtlCol="0" anchor="ctr"/>
            <a:lstStyle/>
            <a:p>
              <a:endParaRPr lang="en-IN"/>
            </a:p>
          </p:txBody>
        </p:sp>
      </p:grpSp>
      <p:grpSp>
        <p:nvGrpSpPr>
          <p:cNvPr id="144" name="Group 143">
            <a:extLst>
              <a:ext uri="{FF2B5EF4-FFF2-40B4-BE49-F238E27FC236}">
                <a16:creationId xmlns:a16="http://schemas.microsoft.com/office/drawing/2014/main" id="{75E6C490-27C5-464E-B9AA-68C06DC5E379}"/>
              </a:ext>
              <a:ext uri="{C183D7F6-B498-43B3-948B-1728B52AA6E4}">
                <adec:decorative xmlns:adec="http://schemas.microsoft.com/office/drawing/2017/decorative" val="1"/>
              </a:ext>
            </a:extLst>
          </p:cNvPr>
          <p:cNvGrpSpPr/>
          <p:nvPr/>
        </p:nvGrpSpPr>
        <p:grpSpPr>
          <a:xfrm>
            <a:off x="810461" y="3089824"/>
            <a:ext cx="398304" cy="530522"/>
            <a:chOff x="2203659" y="2819574"/>
            <a:chExt cx="179394" cy="240325"/>
          </a:xfrm>
        </p:grpSpPr>
        <p:sp>
          <p:nvSpPr>
            <p:cNvPr id="145" name="Freeform: Shape 144">
              <a:extLst>
                <a:ext uri="{FF2B5EF4-FFF2-40B4-BE49-F238E27FC236}">
                  <a16:creationId xmlns:a16="http://schemas.microsoft.com/office/drawing/2014/main" id="{4148AD17-2C83-4C7B-8A22-FE43EC4A8D03}"/>
                </a:ext>
              </a:extLst>
            </p:cNvPr>
            <p:cNvSpPr/>
            <p:nvPr/>
          </p:nvSpPr>
          <p:spPr>
            <a:xfrm>
              <a:off x="2203659" y="2819574"/>
              <a:ext cx="178206" cy="240325"/>
            </a:xfrm>
            <a:custGeom>
              <a:avLst/>
              <a:gdLst>
                <a:gd name="connsiteX0" fmla="*/ 13688 w 199099"/>
                <a:gd name="connsiteY0" fmla="*/ 13688 h 278739"/>
                <a:gd name="connsiteX1" fmla="*/ 13688 w 199099"/>
                <a:gd name="connsiteY1" fmla="*/ 265881 h 278739"/>
                <a:gd name="connsiteX2" fmla="*/ 195532 w 199099"/>
                <a:gd name="connsiteY2" fmla="*/ 265881 h 278739"/>
                <a:gd name="connsiteX3" fmla="*/ 195532 w 199099"/>
                <a:gd name="connsiteY3" fmla="*/ 93328 h 278739"/>
                <a:gd name="connsiteX4" fmla="*/ 119875 w 199099"/>
                <a:gd name="connsiteY4" fmla="*/ 93328 h 278739"/>
                <a:gd name="connsiteX5" fmla="*/ 119875 w 199099"/>
                <a:gd name="connsiteY5" fmla="*/ 13688 h 278739"/>
                <a:gd name="connsiteX6" fmla="*/ 13688 w 199099"/>
                <a:gd name="connsiteY6" fmla="*/ 13688 h 278739"/>
                <a:gd name="connsiteX7" fmla="*/ 13688 w 199099"/>
                <a:gd name="connsiteY7" fmla="*/ 13688 h 278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099" h="278739">
                  <a:moveTo>
                    <a:pt x="13688" y="13688"/>
                  </a:moveTo>
                  <a:lnTo>
                    <a:pt x="13688" y="265881"/>
                  </a:lnTo>
                  <a:lnTo>
                    <a:pt x="195532" y="265881"/>
                  </a:lnTo>
                  <a:lnTo>
                    <a:pt x="195532" y="93328"/>
                  </a:lnTo>
                  <a:lnTo>
                    <a:pt x="119875" y="93328"/>
                  </a:lnTo>
                  <a:lnTo>
                    <a:pt x="119875" y="13688"/>
                  </a:lnTo>
                  <a:lnTo>
                    <a:pt x="13688" y="13688"/>
                  </a:lnTo>
                  <a:lnTo>
                    <a:pt x="13688" y="13688"/>
                  </a:lnTo>
                  <a:close/>
                </a:path>
              </a:pathLst>
            </a:custGeom>
            <a:solidFill>
              <a:schemeClr val="bg1"/>
            </a:solidFill>
            <a:ln w="13097" cap="flat">
              <a:noFill/>
              <a:prstDash val="solid"/>
              <a:miter/>
            </a:ln>
          </p:spPr>
          <p:txBody>
            <a:bodyPr rtlCol="0" anchor="ctr"/>
            <a:lstStyle/>
            <a:p>
              <a:endParaRPr lang="en-IN"/>
            </a:p>
          </p:txBody>
        </p:sp>
        <p:sp>
          <p:nvSpPr>
            <p:cNvPr id="146" name="Freeform: Shape 145">
              <a:extLst>
                <a:ext uri="{FF2B5EF4-FFF2-40B4-BE49-F238E27FC236}">
                  <a16:creationId xmlns:a16="http://schemas.microsoft.com/office/drawing/2014/main" id="{3CCCFCDC-9ED3-4409-9D85-9D5412C90E32}"/>
                </a:ext>
              </a:extLst>
            </p:cNvPr>
            <p:cNvSpPr/>
            <p:nvPr/>
          </p:nvSpPr>
          <p:spPr>
            <a:xfrm>
              <a:off x="2311771" y="2819574"/>
              <a:ext cx="71282" cy="68664"/>
            </a:xfrm>
            <a:custGeom>
              <a:avLst/>
              <a:gdLst>
                <a:gd name="connsiteX0" fmla="*/ 13688 w 79639"/>
                <a:gd name="connsiteY0" fmla="*/ 74745 h 79639"/>
                <a:gd name="connsiteX1" fmla="*/ 74745 w 79639"/>
                <a:gd name="connsiteY1" fmla="*/ 74745 h 79639"/>
                <a:gd name="connsiteX2" fmla="*/ 13688 w 79639"/>
                <a:gd name="connsiteY2" fmla="*/ 13688 h 79639"/>
                <a:gd name="connsiteX3" fmla="*/ 13688 w 79639"/>
                <a:gd name="connsiteY3" fmla="*/ 74745 h 79639"/>
                <a:gd name="connsiteX4" fmla="*/ 13688 w 79639"/>
                <a:gd name="connsiteY4" fmla="*/ 74745 h 79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39" h="79639">
                  <a:moveTo>
                    <a:pt x="13688" y="74745"/>
                  </a:moveTo>
                  <a:lnTo>
                    <a:pt x="74745" y="74745"/>
                  </a:lnTo>
                  <a:lnTo>
                    <a:pt x="13688" y="13688"/>
                  </a:lnTo>
                  <a:lnTo>
                    <a:pt x="13688" y="74745"/>
                  </a:lnTo>
                  <a:lnTo>
                    <a:pt x="13688" y="74745"/>
                  </a:lnTo>
                  <a:close/>
                </a:path>
              </a:pathLst>
            </a:custGeom>
            <a:solidFill>
              <a:schemeClr val="bg1"/>
            </a:solidFill>
            <a:ln w="13097" cap="flat">
              <a:noFill/>
              <a:prstDash val="solid"/>
              <a:miter/>
            </a:ln>
          </p:spPr>
          <p:txBody>
            <a:bodyPr rtlCol="0" anchor="ctr"/>
            <a:lstStyle/>
            <a:p>
              <a:endParaRPr lang="en-IN"/>
            </a:p>
          </p:txBody>
        </p:sp>
        <p:sp>
          <p:nvSpPr>
            <p:cNvPr id="147" name="Freeform: Shape 146">
              <a:extLst>
                <a:ext uri="{FF2B5EF4-FFF2-40B4-BE49-F238E27FC236}">
                  <a16:creationId xmlns:a16="http://schemas.microsoft.com/office/drawing/2014/main" id="{A6F6003B-5C76-44B4-B306-C9A9885F8EF7}"/>
                </a:ext>
              </a:extLst>
            </p:cNvPr>
            <p:cNvSpPr/>
            <p:nvPr/>
          </p:nvSpPr>
          <p:spPr>
            <a:xfrm>
              <a:off x="2273857" y="2904552"/>
              <a:ext cx="89561" cy="19191"/>
            </a:xfrm>
            <a:custGeom>
              <a:avLst/>
              <a:gdLst>
                <a:gd name="connsiteX0" fmla="*/ 4424 w 106186"/>
                <a:gd name="connsiteY0" fmla="*/ 4424 h 22754"/>
                <a:gd name="connsiteX1" fmla="*/ 105301 w 106186"/>
                <a:gd name="connsiteY1" fmla="*/ 4424 h 22754"/>
                <a:gd name="connsiteX2" fmla="*/ 105301 w 106186"/>
                <a:gd name="connsiteY2" fmla="*/ 21869 h 22754"/>
                <a:gd name="connsiteX3" fmla="*/ 4424 w 106186"/>
                <a:gd name="connsiteY3" fmla="*/ 21869 h 22754"/>
              </a:gdLst>
              <a:ahLst/>
              <a:cxnLst>
                <a:cxn ang="0">
                  <a:pos x="connsiteX0" y="connsiteY0"/>
                </a:cxn>
                <a:cxn ang="0">
                  <a:pos x="connsiteX1" y="connsiteY1"/>
                </a:cxn>
                <a:cxn ang="0">
                  <a:pos x="connsiteX2" y="connsiteY2"/>
                </a:cxn>
                <a:cxn ang="0">
                  <a:pos x="connsiteX3" y="connsiteY3"/>
                </a:cxn>
              </a:cxnLst>
              <a:rect l="l" t="t" r="r" b="b"/>
              <a:pathLst>
                <a:path w="106186" h="22754">
                  <a:moveTo>
                    <a:pt x="4424" y="4424"/>
                  </a:moveTo>
                  <a:lnTo>
                    <a:pt x="105301" y="4424"/>
                  </a:lnTo>
                  <a:lnTo>
                    <a:pt x="105301" y="21869"/>
                  </a:lnTo>
                  <a:lnTo>
                    <a:pt x="4424" y="21869"/>
                  </a:lnTo>
                  <a:close/>
                </a:path>
              </a:pathLst>
            </a:custGeom>
            <a:solidFill>
              <a:srgbClr val="00E7CF"/>
            </a:solidFill>
            <a:ln w="7408"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4A4A4023-ED49-4217-BFB9-514090B98547}"/>
                </a:ext>
              </a:extLst>
            </p:cNvPr>
            <p:cNvSpPr/>
            <p:nvPr/>
          </p:nvSpPr>
          <p:spPr>
            <a:xfrm>
              <a:off x="2273857" y="2939737"/>
              <a:ext cx="89561" cy="19191"/>
            </a:xfrm>
            <a:custGeom>
              <a:avLst/>
              <a:gdLst>
                <a:gd name="connsiteX0" fmla="*/ 4424 w 106186"/>
                <a:gd name="connsiteY0" fmla="*/ 4424 h 22754"/>
                <a:gd name="connsiteX1" fmla="*/ 105301 w 106186"/>
                <a:gd name="connsiteY1" fmla="*/ 4424 h 22754"/>
                <a:gd name="connsiteX2" fmla="*/ 105301 w 106186"/>
                <a:gd name="connsiteY2" fmla="*/ 21869 h 22754"/>
                <a:gd name="connsiteX3" fmla="*/ 4424 w 106186"/>
                <a:gd name="connsiteY3" fmla="*/ 21869 h 22754"/>
              </a:gdLst>
              <a:ahLst/>
              <a:cxnLst>
                <a:cxn ang="0">
                  <a:pos x="connsiteX0" y="connsiteY0"/>
                </a:cxn>
                <a:cxn ang="0">
                  <a:pos x="connsiteX1" y="connsiteY1"/>
                </a:cxn>
                <a:cxn ang="0">
                  <a:pos x="connsiteX2" y="connsiteY2"/>
                </a:cxn>
                <a:cxn ang="0">
                  <a:pos x="connsiteX3" y="connsiteY3"/>
                </a:cxn>
              </a:cxnLst>
              <a:rect l="l" t="t" r="r" b="b"/>
              <a:pathLst>
                <a:path w="106186" h="22754">
                  <a:moveTo>
                    <a:pt x="4424" y="4424"/>
                  </a:moveTo>
                  <a:lnTo>
                    <a:pt x="105301" y="4424"/>
                  </a:lnTo>
                  <a:lnTo>
                    <a:pt x="105301" y="21869"/>
                  </a:lnTo>
                  <a:lnTo>
                    <a:pt x="4424" y="21869"/>
                  </a:lnTo>
                  <a:close/>
                </a:path>
              </a:pathLst>
            </a:custGeom>
            <a:solidFill>
              <a:srgbClr val="00E7CF"/>
            </a:solidFill>
            <a:ln w="7408"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35784B0D-8A86-49D4-9734-4B2E3269094A}"/>
                </a:ext>
              </a:extLst>
            </p:cNvPr>
            <p:cNvSpPr/>
            <p:nvPr/>
          </p:nvSpPr>
          <p:spPr>
            <a:xfrm>
              <a:off x="2273857" y="2974282"/>
              <a:ext cx="89561" cy="19191"/>
            </a:xfrm>
            <a:custGeom>
              <a:avLst/>
              <a:gdLst>
                <a:gd name="connsiteX0" fmla="*/ 4424 w 106186"/>
                <a:gd name="connsiteY0" fmla="*/ 4424 h 22754"/>
                <a:gd name="connsiteX1" fmla="*/ 105301 w 106186"/>
                <a:gd name="connsiteY1" fmla="*/ 4424 h 22754"/>
                <a:gd name="connsiteX2" fmla="*/ 105301 w 106186"/>
                <a:gd name="connsiteY2" fmla="*/ 21869 h 22754"/>
                <a:gd name="connsiteX3" fmla="*/ 4424 w 106186"/>
                <a:gd name="connsiteY3" fmla="*/ 21869 h 22754"/>
              </a:gdLst>
              <a:ahLst/>
              <a:cxnLst>
                <a:cxn ang="0">
                  <a:pos x="connsiteX0" y="connsiteY0"/>
                </a:cxn>
                <a:cxn ang="0">
                  <a:pos x="connsiteX1" y="connsiteY1"/>
                </a:cxn>
                <a:cxn ang="0">
                  <a:pos x="connsiteX2" y="connsiteY2"/>
                </a:cxn>
                <a:cxn ang="0">
                  <a:pos x="connsiteX3" y="connsiteY3"/>
                </a:cxn>
              </a:cxnLst>
              <a:rect l="l" t="t" r="r" b="b"/>
              <a:pathLst>
                <a:path w="106186" h="22754">
                  <a:moveTo>
                    <a:pt x="4424" y="4424"/>
                  </a:moveTo>
                  <a:lnTo>
                    <a:pt x="105301" y="4424"/>
                  </a:lnTo>
                  <a:lnTo>
                    <a:pt x="105301" y="21869"/>
                  </a:lnTo>
                  <a:lnTo>
                    <a:pt x="4424" y="21869"/>
                  </a:lnTo>
                  <a:close/>
                </a:path>
              </a:pathLst>
            </a:custGeom>
            <a:solidFill>
              <a:srgbClr val="75757A"/>
            </a:solidFill>
            <a:ln w="7408"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80DD81A2-17B1-4E7D-A406-4CA00F955C5F}"/>
                </a:ext>
              </a:extLst>
            </p:cNvPr>
            <p:cNvSpPr/>
            <p:nvPr/>
          </p:nvSpPr>
          <p:spPr>
            <a:xfrm>
              <a:off x="2273857" y="3008827"/>
              <a:ext cx="89561" cy="19191"/>
            </a:xfrm>
            <a:custGeom>
              <a:avLst/>
              <a:gdLst>
                <a:gd name="connsiteX0" fmla="*/ 4424 w 106186"/>
                <a:gd name="connsiteY0" fmla="*/ 4424 h 22754"/>
                <a:gd name="connsiteX1" fmla="*/ 105301 w 106186"/>
                <a:gd name="connsiteY1" fmla="*/ 4424 h 22754"/>
                <a:gd name="connsiteX2" fmla="*/ 105301 w 106186"/>
                <a:gd name="connsiteY2" fmla="*/ 21869 h 22754"/>
                <a:gd name="connsiteX3" fmla="*/ 4424 w 106186"/>
                <a:gd name="connsiteY3" fmla="*/ 21869 h 22754"/>
              </a:gdLst>
              <a:ahLst/>
              <a:cxnLst>
                <a:cxn ang="0">
                  <a:pos x="connsiteX0" y="connsiteY0"/>
                </a:cxn>
                <a:cxn ang="0">
                  <a:pos x="connsiteX1" y="connsiteY1"/>
                </a:cxn>
                <a:cxn ang="0">
                  <a:pos x="connsiteX2" y="connsiteY2"/>
                </a:cxn>
                <a:cxn ang="0">
                  <a:pos x="connsiteX3" y="connsiteY3"/>
                </a:cxn>
              </a:cxnLst>
              <a:rect l="l" t="t" r="r" b="b"/>
              <a:pathLst>
                <a:path w="106186" h="22754">
                  <a:moveTo>
                    <a:pt x="4424" y="4424"/>
                  </a:moveTo>
                  <a:lnTo>
                    <a:pt x="105301" y="4424"/>
                  </a:lnTo>
                  <a:lnTo>
                    <a:pt x="105301" y="21869"/>
                  </a:lnTo>
                  <a:lnTo>
                    <a:pt x="4424" y="21869"/>
                  </a:lnTo>
                  <a:close/>
                </a:path>
              </a:pathLst>
            </a:custGeom>
            <a:solidFill>
              <a:srgbClr val="75757A"/>
            </a:solidFill>
            <a:ln w="7408"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5A4F3173-03CF-42BF-B672-876A09FDD555}"/>
                </a:ext>
              </a:extLst>
            </p:cNvPr>
            <p:cNvSpPr/>
            <p:nvPr/>
          </p:nvSpPr>
          <p:spPr>
            <a:xfrm>
              <a:off x="2221614" y="2898368"/>
              <a:ext cx="44780" cy="38383"/>
            </a:xfrm>
            <a:custGeom>
              <a:avLst/>
              <a:gdLst>
                <a:gd name="connsiteX0" fmla="*/ 22375 w 53093"/>
                <a:gd name="connsiteY0" fmla="*/ 39820 h 45508"/>
                <a:gd name="connsiteX1" fmla="*/ 5689 w 53093"/>
                <a:gd name="connsiteY1" fmla="*/ 19341 h 45508"/>
                <a:gd name="connsiteX2" fmla="*/ 14032 w 53093"/>
                <a:gd name="connsiteY2" fmla="*/ 12515 h 45508"/>
                <a:gd name="connsiteX3" fmla="*/ 23892 w 53093"/>
                <a:gd name="connsiteY3" fmla="*/ 23133 h 45508"/>
                <a:gd name="connsiteX4" fmla="*/ 43612 w 53093"/>
                <a:gd name="connsiteY4" fmla="*/ 5689 h 45508"/>
                <a:gd name="connsiteX5" fmla="*/ 51197 w 53093"/>
                <a:gd name="connsiteY5" fmla="*/ 14032 h 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093" h="45508">
                  <a:moveTo>
                    <a:pt x="22375" y="39820"/>
                  </a:moveTo>
                  <a:lnTo>
                    <a:pt x="5689" y="19341"/>
                  </a:lnTo>
                  <a:lnTo>
                    <a:pt x="14032" y="12515"/>
                  </a:lnTo>
                  <a:lnTo>
                    <a:pt x="23892" y="23133"/>
                  </a:lnTo>
                  <a:lnTo>
                    <a:pt x="43612" y="5689"/>
                  </a:lnTo>
                  <a:lnTo>
                    <a:pt x="51197" y="14032"/>
                  </a:lnTo>
                  <a:close/>
                </a:path>
              </a:pathLst>
            </a:custGeom>
            <a:solidFill>
              <a:srgbClr val="00E7CF"/>
            </a:solidFill>
            <a:ln w="9525"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6609ED8A-8249-48BE-8028-8D58B99093D3}"/>
                </a:ext>
              </a:extLst>
            </p:cNvPr>
            <p:cNvSpPr/>
            <p:nvPr/>
          </p:nvSpPr>
          <p:spPr>
            <a:xfrm>
              <a:off x="2221614" y="2932274"/>
              <a:ext cx="44780" cy="38383"/>
            </a:xfrm>
            <a:custGeom>
              <a:avLst/>
              <a:gdLst>
                <a:gd name="connsiteX0" fmla="*/ 22375 w 53093"/>
                <a:gd name="connsiteY0" fmla="*/ 39820 h 45508"/>
                <a:gd name="connsiteX1" fmla="*/ 5689 w 53093"/>
                <a:gd name="connsiteY1" fmla="*/ 20100 h 45508"/>
                <a:gd name="connsiteX2" fmla="*/ 14032 w 53093"/>
                <a:gd name="connsiteY2" fmla="*/ 12515 h 45508"/>
                <a:gd name="connsiteX3" fmla="*/ 23892 w 53093"/>
                <a:gd name="connsiteY3" fmla="*/ 23892 h 45508"/>
                <a:gd name="connsiteX4" fmla="*/ 43612 w 53093"/>
                <a:gd name="connsiteY4" fmla="*/ 5689 h 45508"/>
                <a:gd name="connsiteX5" fmla="*/ 51197 w 53093"/>
                <a:gd name="connsiteY5" fmla="*/ 14032 h 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093" h="45508">
                  <a:moveTo>
                    <a:pt x="22375" y="39820"/>
                  </a:moveTo>
                  <a:lnTo>
                    <a:pt x="5689" y="20100"/>
                  </a:lnTo>
                  <a:lnTo>
                    <a:pt x="14032" y="12515"/>
                  </a:lnTo>
                  <a:lnTo>
                    <a:pt x="23892" y="23892"/>
                  </a:lnTo>
                  <a:lnTo>
                    <a:pt x="43612" y="5689"/>
                  </a:lnTo>
                  <a:lnTo>
                    <a:pt x="51197" y="14032"/>
                  </a:lnTo>
                  <a:close/>
                </a:path>
              </a:pathLst>
            </a:custGeom>
            <a:solidFill>
              <a:srgbClr val="00E7CF"/>
            </a:solidFill>
            <a:ln w="9525"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A3665710-34CE-45DB-AC20-4E91210725C2}"/>
                </a:ext>
              </a:extLst>
            </p:cNvPr>
            <p:cNvSpPr/>
            <p:nvPr/>
          </p:nvSpPr>
          <p:spPr>
            <a:xfrm>
              <a:off x="2221614" y="2966819"/>
              <a:ext cx="44780" cy="38383"/>
            </a:xfrm>
            <a:custGeom>
              <a:avLst/>
              <a:gdLst>
                <a:gd name="connsiteX0" fmla="*/ 22375 w 53093"/>
                <a:gd name="connsiteY0" fmla="*/ 39820 h 45508"/>
                <a:gd name="connsiteX1" fmla="*/ 5689 w 53093"/>
                <a:gd name="connsiteY1" fmla="*/ 19341 h 45508"/>
                <a:gd name="connsiteX2" fmla="*/ 14032 w 53093"/>
                <a:gd name="connsiteY2" fmla="*/ 12515 h 45508"/>
                <a:gd name="connsiteX3" fmla="*/ 23892 w 53093"/>
                <a:gd name="connsiteY3" fmla="*/ 23133 h 45508"/>
                <a:gd name="connsiteX4" fmla="*/ 43612 w 53093"/>
                <a:gd name="connsiteY4" fmla="*/ 5689 h 45508"/>
                <a:gd name="connsiteX5" fmla="*/ 51197 w 53093"/>
                <a:gd name="connsiteY5" fmla="*/ 14032 h 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093" h="45508">
                  <a:moveTo>
                    <a:pt x="22375" y="39820"/>
                  </a:moveTo>
                  <a:lnTo>
                    <a:pt x="5689" y="19341"/>
                  </a:lnTo>
                  <a:lnTo>
                    <a:pt x="14032" y="12515"/>
                  </a:lnTo>
                  <a:lnTo>
                    <a:pt x="23892" y="23133"/>
                  </a:lnTo>
                  <a:lnTo>
                    <a:pt x="43612" y="5689"/>
                  </a:lnTo>
                  <a:lnTo>
                    <a:pt x="51197" y="14032"/>
                  </a:lnTo>
                  <a:close/>
                </a:path>
              </a:pathLst>
            </a:custGeom>
            <a:solidFill>
              <a:srgbClr val="75757A"/>
            </a:solidFill>
            <a:ln w="9525"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266F88A0-8827-421D-9C60-2DDA4DE35ECC}"/>
                </a:ext>
              </a:extLst>
            </p:cNvPr>
            <p:cNvSpPr/>
            <p:nvPr/>
          </p:nvSpPr>
          <p:spPr>
            <a:xfrm>
              <a:off x="2221614" y="3000724"/>
              <a:ext cx="44780" cy="38383"/>
            </a:xfrm>
            <a:custGeom>
              <a:avLst/>
              <a:gdLst>
                <a:gd name="connsiteX0" fmla="*/ 22375 w 53093"/>
                <a:gd name="connsiteY0" fmla="*/ 40578 h 45508"/>
                <a:gd name="connsiteX1" fmla="*/ 5689 w 53093"/>
                <a:gd name="connsiteY1" fmla="*/ 20100 h 45508"/>
                <a:gd name="connsiteX2" fmla="*/ 14032 w 53093"/>
                <a:gd name="connsiteY2" fmla="*/ 12515 h 45508"/>
                <a:gd name="connsiteX3" fmla="*/ 23892 w 53093"/>
                <a:gd name="connsiteY3" fmla="*/ 23892 h 45508"/>
                <a:gd name="connsiteX4" fmla="*/ 43612 w 53093"/>
                <a:gd name="connsiteY4" fmla="*/ 5689 h 45508"/>
                <a:gd name="connsiteX5" fmla="*/ 51197 w 53093"/>
                <a:gd name="connsiteY5" fmla="*/ 14032 h 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093" h="45508">
                  <a:moveTo>
                    <a:pt x="22375" y="40578"/>
                  </a:moveTo>
                  <a:lnTo>
                    <a:pt x="5689" y="20100"/>
                  </a:lnTo>
                  <a:lnTo>
                    <a:pt x="14032" y="12515"/>
                  </a:lnTo>
                  <a:lnTo>
                    <a:pt x="23892" y="23892"/>
                  </a:lnTo>
                  <a:lnTo>
                    <a:pt x="43612" y="5689"/>
                  </a:lnTo>
                  <a:lnTo>
                    <a:pt x="51197" y="14032"/>
                  </a:lnTo>
                  <a:close/>
                </a:path>
              </a:pathLst>
            </a:custGeom>
            <a:solidFill>
              <a:srgbClr val="75757A"/>
            </a:solidFill>
            <a:ln w="9525" cap="flat">
              <a:noFill/>
              <a:prstDash val="solid"/>
              <a:miter/>
            </a:ln>
          </p:spPr>
          <p:txBody>
            <a:bodyPr rtlCol="0" anchor="ctr"/>
            <a:lstStyle/>
            <a:p>
              <a:endParaRPr lang="en-US"/>
            </a:p>
          </p:txBody>
        </p:sp>
      </p:grpSp>
      <p:sp>
        <p:nvSpPr>
          <p:cNvPr id="51" name="Rectangle 50">
            <a:extLst>
              <a:ext uri="{FF2B5EF4-FFF2-40B4-BE49-F238E27FC236}">
                <a16:creationId xmlns:a16="http://schemas.microsoft.com/office/drawing/2014/main" id="{45E8027B-C103-4522-8B97-572E1A99FAF9}"/>
              </a:ext>
            </a:extLst>
          </p:cNvPr>
          <p:cNvSpPr/>
          <p:nvPr/>
        </p:nvSpPr>
        <p:spPr>
          <a:xfrm>
            <a:off x="611678" y="6285415"/>
            <a:ext cx="4717453" cy="307777"/>
          </a:xfrm>
          <a:prstGeom prst="rect">
            <a:avLst/>
          </a:prstGeom>
          <a:noFill/>
        </p:spPr>
        <p:txBody>
          <a:bodyPr wrap="square" lIns="0">
            <a:spAutoFit/>
          </a:bodyPr>
          <a:lstStyle/>
          <a:p>
            <a:pPr defTabSz="895698">
              <a:defRPr/>
            </a:pPr>
            <a:r>
              <a:rPr lang="en-US" sz="1400" kern="0">
                <a:solidFill>
                  <a:schemeClr val="accent2"/>
                </a:solidFill>
                <a:latin typeface="Segoe UI Semibold" panose="020B0702040204020203" pitchFamily="34" charset="0"/>
                <a:cs typeface="Segoe UI Semibold" panose="020B0702040204020203" pitchFamily="34" charset="0"/>
                <a:hlinkClick r:id="rId3">
                  <a:extLst>
                    <a:ext uri="{A12FA001-AC4F-418D-AE19-62706E023703}">
                      <ahyp:hlinkClr xmlns:ahyp="http://schemas.microsoft.com/office/drawing/2018/hyperlinkcolor" val="tx"/>
                    </a:ext>
                  </a:extLst>
                </a:hlinkClick>
              </a:rPr>
              <a:t>FastTrack.microsoft.com</a:t>
            </a:r>
            <a:endParaRPr lang="en-US" sz="1400" kern="0">
              <a:solidFill>
                <a:schemeClr val="accent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56749344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457200"/>
            <a:ext cx="10309123" cy="553998"/>
          </a:xfrm>
        </p:spPr>
        <p:txBody>
          <a:bodyPr/>
          <a:lstStyle/>
          <a:p>
            <a:r>
              <a:rPr lang="en-US"/>
              <a:t>Business units</a:t>
            </a:r>
          </a:p>
        </p:txBody>
      </p:sp>
      <p:sp>
        <p:nvSpPr>
          <p:cNvPr id="40" name="Rectangle 39">
            <a:extLst>
              <a:ext uri="{FF2B5EF4-FFF2-40B4-BE49-F238E27FC236}">
                <a16:creationId xmlns:a16="http://schemas.microsoft.com/office/drawing/2014/main" id="{0930E396-A62A-4C0B-B75C-56521DB50FD9}"/>
              </a:ext>
            </a:extLst>
          </p:cNvPr>
          <p:cNvSpPr/>
          <p:nvPr/>
        </p:nvSpPr>
        <p:spPr>
          <a:xfrm>
            <a:off x="889127" y="1189176"/>
            <a:ext cx="2316781" cy="5353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n-US" sz="1600">
                <a:solidFill>
                  <a:schemeClr val="tx1"/>
                </a:solidFill>
              </a:rPr>
              <a:t>Business unit structure</a:t>
            </a:r>
          </a:p>
        </p:txBody>
      </p:sp>
      <p:grpSp>
        <p:nvGrpSpPr>
          <p:cNvPr id="41" name="Group 40">
            <a:extLst>
              <a:ext uri="{FF2B5EF4-FFF2-40B4-BE49-F238E27FC236}">
                <a16:creationId xmlns:a16="http://schemas.microsoft.com/office/drawing/2014/main" id="{196935F2-C1D4-40DD-B731-FE3CD7CC60C6}"/>
              </a:ext>
            </a:extLst>
          </p:cNvPr>
          <p:cNvGrpSpPr/>
          <p:nvPr/>
        </p:nvGrpSpPr>
        <p:grpSpPr>
          <a:xfrm>
            <a:off x="471156" y="1287313"/>
            <a:ext cx="326112" cy="326112"/>
            <a:chOff x="115497" y="1864737"/>
            <a:chExt cx="461744" cy="461744"/>
          </a:xfrm>
          <a:solidFill>
            <a:schemeClr val="tx2"/>
          </a:solidFill>
        </p:grpSpPr>
        <p:sp>
          <p:nvSpPr>
            <p:cNvPr id="42" name="Freeform: Shape 41">
              <a:extLst>
                <a:ext uri="{FF2B5EF4-FFF2-40B4-BE49-F238E27FC236}">
                  <a16:creationId xmlns:a16="http://schemas.microsoft.com/office/drawing/2014/main" id="{BBF2CD0C-6D90-4F5E-B988-580D285F75E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Graphic 77">
              <a:extLst>
                <a:ext uri="{FF2B5EF4-FFF2-40B4-BE49-F238E27FC236}">
                  <a16:creationId xmlns:a16="http://schemas.microsoft.com/office/drawing/2014/main" id="{F0C996C6-E99F-442E-8255-0AD57A8B7C8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4" name="Rectangle 43">
            <a:extLst>
              <a:ext uri="{FF2B5EF4-FFF2-40B4-BE49-F238E27FC236}">
                <a16:creationId xmlns:a16="http://schemas.microsoft.com/office/drawing/2014/main" id="{7AEF577A-6637-41CE-8BA1-6AEF5C48E17A}"/>
              </a:ext>
            </a:extLst>
          </p:cNvPr>
          <p:cNvSpPr/>
          <p:nvPr/>
        </p:nvSpPr>
        <p:spPr>
          <a:xfrm>
            <a:off x="457200" y="1895751"/>
            <a:ext cx="11277600" cy="46323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a:solidFill>
                  <a:schemeClr val="tx1"/>
                </a:solidFill>
              </a:rPr>
              <a:t>Describe the planned hierarchical structure of business units</a:t>
            </a:r>
            <a:br>
              <a:rPr lang="en-US" sz="1600">
                <a:solidFill>
                  <a:schemeClr val="tx1"/>
                </a:solidFill>
              </a:rPr>
            </a:br>
            <a:br>
              <a:rPr lang="en-US" sz="1600">
                <a:solidFill>
                  <a:schemeClr val="tx1"/>
                </a:solidFill>
              </a:rPr>
            </a:br>
            <a:r>
              <a:rPr lang="en-US" sz="1600">
                <a:solidFill>
                  <a:schemeClr val="tx1"/>
                </a:solidFill>
              </a:rPr>
              <a:t>(See slide notes for additional information)</a:t>
            </a:r>
          </a:p>
          <a:p>
            <a:r>
              <a:rPr lang="en-US" sz="1600">
                <a:solidFill>
                  <a:schemeClr val="tx1"/>
                </a:solidFill>
              </a:rPr>
              <a:t> </a:t>
            </a:r>
          </a:p>
        </p:txBody>
      </p:sp>
      <p:sp>
        <p:nvSpPr>
          <p:cNvPr id="46" name="Rectangle 45">
            <a:extLst>
              <a:ext uri="{FF2B5EF4-FFF2-40B4-BE49-F238E27FC236}">
                <a16:creationId xmlns:a16="http://schemas.microsoft.com/office/drawing/2014/main" id="{9923CCA2-B2DC-4513-AB51-5C5BA8A0BC2F}"/>
              </a:ext>
            </a:extLst>
          </p:cNvPr>
          <p:cNvSpPr/>
          <p:nvPr/>
        </p:nvSpPr>
        <p:spPr>
          <a:xfrm>
            <a:off x="3715738" y="1189176"/>
            <a:ext cx="250249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n-GB" sz="1600">
                <a:solidFill>
                  <a:schemeClr val="tx1"/>
                </a:solidFill>
              </a:rPr>
              <a:t>Number of business units</a:t>
            </a:r>
          </a:p>
        </p:txBody>
      </p:sp>
      <p:sp>
        <p:nvSpPr>
          <p:cNvPr id="51" name="Rectangle 50">
            <a:extLst>
              <a:ext uri="{FF2B5EF4-FFF2-40B4-BE49-F238E27FC236}">
                <a16:creationId xmlns:a16="http://schemas.microsoft.com/office/drawing/2014/main" id="{1AB56B20-7952-49ED-A542-05BBA7149614}"/>
              </a:ext>
            </a:extLst>
          </p:cNvPr>
          <p:cNvSpPr/>
          <p:nvPr/>
        </p:nvSpPr>
        <p:spPr>
          <a:xfrm>
            <a:off x="8441098" y="1231852"/>
            <a:ext cx="1782555" cy="492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n-GB" sz="1600">
                <a:solidFill>
                  <a:schemeClr val="tx1"/>
                </a:solidFill>
              </a:rPr>
              <a:t>Maximum depth</a:t>
            </a:r>
          </a:p>
        </p:txBody>
      </p:sp>
      <p:sp>
        <p:nvSpPr>
          <p:cNvPr id="3" name="Rectangle 2">
            <a:extLst>
              <a:ext uri="{FF2B5EF4-FFF2-40B4-BE49-F238E27FC236}">
                <a16:creationId xmlns:a16="http://schemas.microsoft.com/office/drawing/2014/main" id="{54EF9FCB-D771-494D-82A1-13D97A13A300}"/>
              </a:ext>
            </a:extLst>
          </p:cNvPr>
          <p:cNvSpPr/>
          <p:nvPr/>
        </p:nvSpPr>
        <p:spPr>
          <a:xfrm>
            <a:off x="6262213" y="1195660"/>
            <a:ext cx="1511147"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a:t>
            </a:r>
          </a:p>
        </p:txBody>
      </p:sp>
      <p:sp>
        <p:nvSpPr>
          <p:cNvPr id="4" name="Rectangle 3">
            <a:extLst>
              <a:ext uri="{FF2B5EF4-FFF2-40B4-BE49-F238E27FC236}">
                <a16:creationId xmlns:a16="http://schemas.microsoft.com/office/drawing/2014/main" id="{5A8900D6-2488-4F8B-9F45-1E190F494502}"/>
              </a:ext>
            </a:extLst>
          </p:cNvPr>
          <p:cNvSpPr/>
          <p:nvPr/>
        </p:nvSpPr>
        <p:spPr>
          <a:xfrm>
            <a:off x="10223653" y="1231852"/>
            <a:ext cx="1511147"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a:t>
            </a:r>
          </a:p>
        </p:txBody>
      </p:sp>
      <p:sp>
        <p:nvSpPr>
          <p:cNvPr id="5" name="Rectangle: Rounded Corners 4">
            <a:extLst>
              <a:ext uri="{FF2B5EF4-FFF2-40B4-BE49-F238E27FC236}">
                <a16:creationId xmlns:a16="http://schemas.microsoft.com/office/drawing/2014/main" id="{33137589-C6A2-4189-B1C6-F24BEE828DCD}"/>
              </a:ext>
            </a:extLst>
          </p:cNvPr>
          <p:cNvSpPr/>
          <p:nvPr/>
        </p:nvSpPr>
        <p:spPr bwMode="auto">
          <a:xfrm>
            <a:off x="11243737" y="203842"/>
            <a:ext cx="720000" cy="720000"/>
          </a:xfrm>
          <a:prstGeom prst="roundRect">
            <a:avLst/>
          </a:prstGeom>
          <a:solidFill>
            <a:srgbClr val="191919"/>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4CCBED"/>
                </a:solidFill>
                <a:effectLst/>
                <a:uLnTx/>
                <a:uFillTx/>
                <a:latin typeface="Segoe UI"/>
                <a:ea typeface="Segoe UI" pitchFamily="34" charset="0"/>
                <a:cs typeface="Segoe UI" pitchFamily="34" charset="0"/>
              </a:rPr>
              <a:t>CE</a:t>
            </a:r>
          </a:p>
        </p:txBody>
      </p:sp>
      <p:grpSp>
        <p:nvGrpSpPr>
          <p:cNvPr id="20" name="Group 19">
            <a:extLst>
              <a:ext uri="{FF2B5EF4-FFF2-40B4-BE49-F238E27FC236}">
                <a16:creationId xmlns:a16="http://schemas.microsoft.com/office/drawing/2014/main" id="{FF85D826-F8CA-494A-A33B-B2BDAF31EF68}"/>
              </a:ext>
            </a:extLst>
          </p:cNvPr>
          <p:cNvGrpSpPr/>
          <p:nvPr/>
        </p:nvGrpSpPr>
        <p:grpSpPr>
          <a:xfrm>
            <a:off x="3333076" y="1293797"/>
            <a:ext cx="326112" cy="326112"/>
            <a:chOff x="115497" y="1864737"/>
            <a:chExt cx="461744" cy="461744"/>
          </a:xfrm>
          <a:solidFill>
            <a:schemeClr val="tx2"/>
          </a:solidFill>
        </p:grpSpPr>
        <p:sp>
          <p:nvSpPr>
            <p:cNvPr id="21" name="Freeform: Shape 20">
              <a:extLst>
                <a:ext uri="{FF2B5EF4-FFF2-40B4-BE49-F238E27FC236}">
                  <a16:creationId xmlns:a16="http://schemas.microsoft.com/office/drawing/2014/main" id="{47498D99-2405-41D0-88F4-E7A19356FAC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Graphic 77">
              <a:extLst>
                <a:ext uri="{FF2B5EF4-FFF2-40B4-BE49-F238E27FC236}">
                  <a16:creationId xmlns:a16="http://schemas.microsoft.com/office/drawing/2014/main" id="{2F4E67E7-0E84-49DE-8BBC-B420D97D955A}"/>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nvGrpSpPr>
          <p:cNvPr id="23" name="Group 22">
            <a:extLst>
              <a:ext uri="{FF2B5EF4-FFF2-40B4-BE49-F238E27FC236}">
                <a16:creationId xmlns:a16="http://schemas.microsoft.com/office/drawing/2014/main" id="{394B052C-419C-401D-93D8-E49119824CA3}"/>
              </a:ext>
            </a:extLst>
          </p:cNvPr>
          <p:cNvGrpSpPr/>
          <p:nvPr/>
        </p:nvGrpSpPr>
        <p:grpSpPr>
          <a:xfrm>
            <a:off x="8039765" y="1329989"/>
            <a:ext cx="326112" cy="326112"/>
            <a:chOff x="115497" y="1864737"/>
            <a:chExt cx="461744" cy="461744"/>
          </a:xfrm>
          <a:solidFill>
            <a:schemeClr val="tx2"/>
          </a:solidFill>
        </p:grpSpPr>
        <p:sp>
          <p:nvSpPr>
            <p:cNvPr id="24" name="Freeform: Shape 23">
              <a:extLst>
                <a:ext uri="{FF2B5EF4-FFF2-40B4-BE49-F238E27FC236}">
                  <a16:creationId xmlns:a16="http://schemas.microsoft.com/office/drawing/2014/main" id="{7601E485-5606-49C0-8F84-D9D7F52849B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5" name="Graphic 77">
              <a:extLst>
                <a:ext uri="{FF2B5EF4-FFF2-40B4-BE49-F238E27FC236}">
                  <a16:creationId xmlns:a16="http://schemas.microsoft.com/office/drawing/2014/main" id="{82F1733A-AFD1-4876-9854-78A27CE58DB1}"/>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Tree>
    <p:extLst>
      <p:ext uri="{BB962C8B-B14F-4D97-AF65-F5344CB8AC3E}">
        <p14:creationId xmlns:p14="http://schemas.microsoft.com/office/powerpoint/2010/main" val="29409338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457200"/>
            <a:ext cx="10450525" cy="553998"/>
          </a:xfrm>
        </p:spPr>
        <p:txBody>
          <a:bodyPr/>
          <a:lstStyle/>
          <a:p>
            <a:r>
              <a:rPr lang="en-US"/>
              <a:t>Teams</a:t>
            </a:r>
          </a:p>
        </p:txBody>
      </p:sp>
      <p:sp>
        <p:nvSpPr>
          <p:cNvPr id="20" name="Rectangle 19">
            <a:extLst>
              <a:ext uri="{FF2B5EF4-FFF2-40B4-BE49-F238E27FC236}">
                <a16:creationId xmlns:a16="http://schemas.microsoft.com/office/drawing/2014/main" id="{8993611A-AF72-44E5-BB38-BEB9A5F83D66}"/>
              </a:ext>
            </a:extLst>
          </p:cNvPr>
          <p:cNvSpPr/>
          <p:nvPr/>
        </p:nvSpPr>
        <p:spPr>
          <a:xfrm>
            <a:off x="878111" y="1189176"/>
            <a:ext cx="5921870" cy="16528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spcBef>
                <a:spcPts val="600"/>
              </a:spcBef>
            </a:pPr>
            <a:r>
              <a:rPr lang="en-US" sz="1600">
                <a:solidFill>
                  <a:schemeClr val="tx1"/>
                </a:solidFill>
              </a:rPr>
              <a:t>Are you planning to use owner teams?</a:t>
            </a:r>
          </a:p>
          <a:p>
            <a:pPr>
              <a:spcBef>
                <a:spcPts val="600"/>
              </a:spcBef>
            </a:pPr>
            <a:r>
              <a:rPr lang="en-US" sz="1400" i="1">
                <a:solidFill>
                  <a:schemeClr val="tx1"/>
                </a:solidFill>
              </a:rPr>
              <a:t>If yes, how and why?</a:t>
            </a:r>
          </a:p>
          <a:p>
            <a:pPr>
              <a:spcBef>
                <a:spcPts val="600"/>
              </a:spcBef>
            </a:pPr>
            <a:r>
              <a:rPr lang="en-US" sz="1400" i="1">
                <a:solidFill>
                  <a:schemeClr val="tx1"/>
                </a:solidFill>
              </a:rPr>
              <a:t>Owner teams:</a:t>
            </a:r>
          </a:p>
          <a:p>
            <a:pPr marL="285750" indent="-196850">
              <a:buFont typeface="Arial" panose="020B0604020202020204" pitchFamily="34" charset="0"/>
              <a:buChar char="•"/>
            </a:pPr>
            <a:r>
              <a:rPr lang="en-US" sz="1400" i="1">
                <a:solidFill>
                  <a:schemeClr val="tx1"/>
                </a:solidFill>
              </a:rPr>
              <a:t>Can be used to assign security roles to users and can own records.</a:t>
            </a:r>
          </a:p>
          <a:p>
            <a:pPr marL="285750" indent="-196850">
              <a:buFont typeface="Arial" panose="020B0604020202020204" pitchFamily="34" charset="0"/>
              <a:buChar char="•"/>
            </a:pPr>
            <a:r>
              <a:rPr lang="en-US" sz="1400" i="1">
                <a:solidFill>
                  <a:schemeClr val="tx1"/>
                </a:solidFill>
              </a:rPr>
              <a:t>Are created for each business unit and contain all their users.</a:t>
            </a:r>
          </a:p>
        </p:txBody>
      </p:sp>
      <p:grpSp>
        <p:nvGrpSpPr>
          <p:cNvPr id="21" name="Group 20">
            <a:extLst>
              <a:ext uri="{FF2B5EF4-FFF2-40B4-BE49-F238E27FC236}">
                <a16:creationId xmlns:a16="http://schemas.microsoft.com/office/drawing/2014/main" id="{CABCF65C-E2F3-4E15-9B5E-0A4DC1E41291}"/>
              </a:ext>
            </a:extLst>
          </p:cNvPr>
          <p:cNvGrpSpPr/>
          <p:nvPr/>
        </p:nvGrpSpPr>
        <p:grpSpPr>
          <a:xfrm>
            <a:off x="446183" y="1276527"/>
            <a:ext cx="326112" cy="326112"/>
            <a:chOff x="115497" y="1864737"/>
            <a:chExt cx="461744" cy="461744"/>
          </a:xfrm>
          <a:solidFill>
            <a:schemeClr val="tx2"/>
          </a:solidFill>
        </p:grpSpPr>
        <p:sp>
          <p:nvSpPr>
            <p:cNvPr id="25" name="Freeform: Shape 24">
              <a:extLst>
                <a:ext uri="{FF2B5EF4-FFF2-40B4-BE49-F238E27FC236}">
                  <a16:creationId xmlns:a16="http://schemas.microsoft.com/office/drawing/2014/main" id="{7C25D6A2-1AC5-4C5E-A77A-61D3F6FE31C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Graphic 77">
              <a:extLst>
                <a:ext uri="{FF2B5EF4-FFF2-40B4-BE49-F238E27FC236}">
                  <a16:creationId xmlns:a16="http://schemas.microsoft.com/office/drawing/2014/main" id="{CBB5F4E7-227B-41A2-8495-CB7799C63317}"/>
                </a:ext>
              </a:extLst>
            </p:cNvPr>
            <p:cNvSpPr/>
            <p:nvPr/>
          </p:nvSpPr>
          <p:spPr>
            <a:xfrm>
              <a:off x="230796" y="2004258"/>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3" name="Rectangle 32">
            <a:extLst>
              <a:ext uri="{FF2B5EF4-FFF2-40B4-BE49-F238E27FC236}">
                <a16:creationId xmlns:a16="http://schemas.microsoft.com/office/drawing/2014/main" id="{4E6833D9-B8E8-4E22-A3C4-9785A26C6D3C}"/>
              </a:ext>
            </a:extLst>
          </p:cNvPr>
          <p:cNvSpPr/>
          <p:nvPr/>
        </p:nvSpPr>
        <p:spPr>
          <a:xfrm>
            <a:off x="6799981" y="1189180"/>
            <a:ext cx="4923802" cy="165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endParaRPr lang="en-US" sz="1600">
              <a:solidFill>
                <a:schemeClr val="tx1"/>
              </a:solidFill>
            </a:endParaRPr>
          </a:p>
        </p:txBody>
      </p:sp>
      <p:sp>
        <p:nvSpPr>
          <p:cNvPr id="40" name="Rectangle 39">
            <a:extLst>
              <a:ext uri="{FF2B5EF4-FFF2-40B4-BE49-F238E27FC236}">
                <a16:creationId xmlns:a16="http://schemas.microsoft.com/office/drawing/2014/main" id="{2FCD1F09-8989-41D1-80A4-1942ACFC4F39}"/>
              </a:ext>
            </a:extLst>
          </p:cNvPr>
          <p:cNvSpPr/>
          <p:nvPr/>
        </p:nvSpPr>
        <p:spPr>
          <a:xfrm>
            <a:off x="6799981" y="2982444"/>
            <a:ext cx="4923802" cy="165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endParaRPr lang="en-US" sz="1600">
              <a:solidFill>
                <a:schemeClr val="tx1"/>
              </a:solidFill>
            </a:endParaRPr>
          </a:p>
        </p:txBody>
      </p:sp>
      <p:sp>
        <p:nvSpPr>
          <p:cNvPr id="14" name="Rectangle 13">
            <a:extLst>
              <a:ext uri="{FF2B5EF4-FFF2-40B4-BE49-F238E27FC236}">
                <a16:creationId xmlns:a16="http://schemas.microsoft.com/office/drawing/2014/main" id="{EA8CC3DD-14C4-4EA0-8823-0A8FF631C7A4}"/>
              </a:ext>
            </a:extLst>
          </p:cNvPr>
          <p:cNvSpPr/>
          <p:nvPr/>
        </p:nvSpPr>
        <p:spPr>
          <a:xfrm>
            <a:off x="6799981" y="4775708"/>
            <a:ext cx="4923802" cy="165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endParaRPr lang="en-US" sz="1600">
              <a:solidFill>
                <a:schemeClr val="tx1"/>
              </a:solidFill>
            </a:endParaRPr>
          </a:p>
        </p:txBody>
      </p:sp>
      <p:cxnSp>
        <p:nvCxnSpPr>
          <p:cNvPr id="3" name="Straight Connector 2">
            <a:extLst>
              <a:ext uri="{FF2B5EF4-FFF2-40B4-BE49-F238E27FC236}">
                <a16:creationId xmlns:a16="http://schemas.microsoft.com/office/drawing/2014/main" id="{100200D1-16CD-467E-B5F0-85BD002B5827}"/>
              </a:ext>
            </a:extLst>
          </p:cNvPr>
          <p:cNvCxnSpPr>
            <a:cxnSpLocks/>
          </p:cNvCxnSpPr>
          <p:nvPr/>
        </p:nvCxnSpPr>
        <p:spPr>
          <a:xfrm>
            <a:off x="440526" y="2912983"/>
            <a:ext cx="11277600" cy="0"/>
          </a:xfrm>
          <a:prstGeom prst="line">
            <a:avLst/>
          </a:prstGeom>
          <a:noFill/>
          <a:ln w="3175">
            <a:solidFill>
              <a:schemeClr val="bg1">
                <a:lumMod val="75000"/>
              </a:schemeClr>
            </a:solidFill>
            <a:prstDash val="dash"/>
          </a:ln>
        </p:spPr>
      </p:cxnSp>
      <p:cxnSp>
        <p:nvCxnSpPr>
          <p:cNvPr id="4" name="Straight Connector 3">
            <a:extLst>
              <a:ext uri="{FF2B5EF4-FFF2-40B4-BE49-F238E27FC236}">
                <a16:creationId xmlns:a16="http://schemas.microsoft.com/office/drawing/2014/main" id="{E17A2B2C-FB80-4C4C-8F4D-529CE57AE49B}"/>
              </a:ext>
            </a:extLst>
          </p:cNvPr>
          <p:cNvCxnSpPr>
            <a:cxnSpLocks/>
          </p:cNvCxnSpPr>
          <p:nvPr/>
        </p:nvCxnSpPr>
        <p:spPr>
          <a:xfrm>
            <a:off x="438690" y="4696768"/>
            <a:ext cx="11277600" cy="0"/>
          </a:xfrm>
          <a:prstGeom prst="line">
            <a:avLst/>
          </a:prstGeom>
          <a:noFill/>
          <a:ln w="3175">
            <a:solidFill>
              <a:schemeClr val="bg1">
                <a:lumMod val="75000"/>
              </a:schemeClr>
            </a:solidFill>
            <a:prstDash val="dash"/>
          </a:ln>
        </p:spPr>
      </p:cxnSp>
      <p:sp>
        <p:nvSpPr>
          <p:cNvPr id="19" name="Rectangle 18">
            <a:extLst>
              <a:ext uri="{FF2B5EF4-FFF2-40B4-BE49-F238E27FC236}">
                <a16:creationId xmlns:a16="http://schemas.microsoft.com/office/drawing/2014/main" id="{0D5AF570-E4AB-44EC-87E3-84709047A6E4}"/>
              </a:ext>
            </a:extLst>
          </p:cNvPr>
          <p:cNvSpPr/>
          <p:nvPr/>
        </p:nvSpPr>
        <p:spPr>
          <a:xfrm>
            <a:off x="870618" y="2980788"/>
            <a:ext cx="5921870" cy="16560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sz="1600">
                <a:solidFill>
                  <a:schemeClr val="tx1"/>
                </a:solidFill>
              </a:rPr>
              <a:t>Are you planning to use access teams?</a:t>
            </a:r>
          </a:p>
          <a:p>
            <a:pPr>
              <a:spcBef>
                <a:spcPts val="600"/>
              </a:spcBef>
            </a:pPr>
            <a:r>
              <a:rPr lang="en-US" sz="1400" i="1">
                <a:solidFill>
                  <a:schemeClr val="tx1"/>
                </a:solidFill>
              </a:rPr>
              <a:t>If yes, how and why?</a:t>
            </a:r>
          </a:p>
          <a:p>
            <a:pPr>
              <a:spcBef>
                <a:spcPts val="600"/>
              </a:spcBef>
            </a:pPr>
            <a:r>
              <a:rPr lang="en-US" sz="1400" i="1">
                <a:solidFill>
                  <a:schemeClr val="tx1"/>
                </a:solidFill>
              </a:rPr>
              <a:t>Access teams:</a:t>
            </a:r>
          </a:p>
          <a:p>
            <a:pPr marL="285750" indent="-196850">
              <a:buFont typeface="Arial" panose="020B0604020202020204" pitchFamily="34" charset="0"/>
              <a:buChar char="•"/>
            </a:pPr>
            <a:r>
              <a:rPr lang="en-US" sz="1400" i="1">
                <a:solidFill>
                  <a:schemeClr val="tx1"/>
                </a:solidFill>
              </a:rPr>
              <a:t>Can’t be assigned security roles and can’t own records.</a:t>
            </a:r>
          </a:p>
          <a:p>
            <a:pPr marL="285750" indent="-196850">
              <a:buFont typeface="Arial" panose="020B0604020202020204" pitchFamily="34" charset="0"/>
              <a:buChar char="•"/>
            </a:pPr>
            <a:r>
              <a:rPr lang="en-US" sz="1400" i="1">
                <a:solidFill>
                  <a:schemeClr val="tx1"/>
                </a:solidFill>
              </a:rPr>
              <a:t>Can be managed by the system to grant record-specific access </a:t>
            </a:r>
            <a:br>
              <a:rPr lang="en-US" sz="1400" i="1">
                <a:solidFill>
                  <a:schemeClr val="tx1"/>
                </a:solidFill>
              </a:rPr>
            </a:br>
            <a:r>
              <a:rPr lang="en-US" sz="1400" i="1">
                <a:solidFill>
                  <a:schemeClr val="tx1"/>
                </a:solidFill>
              </a:rPr>
              <a:t>(e.g., opportunity deal team)</a:t>
            </a:r>
          </a:p>
          <a:p>
            <a:endParaRPr lang="en-US" sz="1600">
              <a:solidFill>
                <a:schemeClr val="tx1"/>
              </a:solidFill>
            </a:endParaRPr>
          </a:p>
        </p:txBody>
      </p:sp>
      <p:grpSp>
        <p:nvGrpSpPr>
          <p:cNvPr id="22" name="Group 21">
            <a:extLst>
              <a:ext uri="{FF2B5EF4-FFF2-40B4-BE49-F238E27FC236}">
                <a16:creationId xmlns:a16="http://schemas.microsoft.com/office/drawing/2014/main" id="{8B817AF4-D6F1-458E-916D-F313818D324C}"/>
              </a:ext>
            </a:extLst>
          </p:cNvPr>
          <p:cNvGrpSpPr/>
          <p:nvPr/>
        </p:nvGrpSpPr>
        <p:grpSpPr>
          <a:xfrm>
            <a:off x="438690" y="3069067"/>
            <a:ext cx="326112" cy="326112"/>
            <a:chOff x="115497" y="1864737"/>
            <a:chExt cx="461744" cy="461744"/>
          </a:xfrm>
          <a:solidFill>
            <a:schemeClr val="tx2"/>
          </a:solidFill>
        </p:grpSpPr>
        <p:sp>
          <p:nvSpPr>
            <p:cNvPr id="23" name="Freeform: Shape 22">
              <a:extLst>
                <a:ext uri="{FF2B5EF4-FFF2-40B4-BE49-F238E27FC236}">
                  <a16:creationId xmlns:a16="http://schemas.microsoft.com/office/drawing/2014/main" id="{5484DA3B-F8BD-462A-90AD-1B68C9A50D9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4" name="Graphic 77">
              <a:extLst>
                <a:ext uri="{FF2B5EF4-FFF2-40B4-BE49-F238E27FC236}">
                  <a16:creationId xmlns:a16="http://schemas.microsoft.com/office/drawing/2014/main" id="{E756EABF-FC17-4542-A642-0CC6FCA48BEF}"/>
                </a:ext>
              </a:extLst>
            </p:cNvPr>
            <p:cNvSpPr/>
            <p:nvPr/>
          </p:nvSpPr>
          <p:spPr>
            <a:xfrm>
              <a:off x="230796" y="2004258"/>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27" name="Rectangle 26">
            <a:extLst>
              <a:ext uri="{FF2B5EF4-FFF2-40B4-BE49-F238E27FC236}">
                <a16:creationId xmlns:a16="http://schemas.microsoft.com/office/drawing/2014/main" id="{0AA7E48F-B090-4E86-A026-DBC3AECB9CDF}"/>
              </a:ext>
            </a:extLst>
          </p:cNvPr>
          <p:cNvSpPr/>
          <p:nvPr/>
        </p:nvSpPr>
        <p:spPr>
          <a:xfrm>
            <a:off x="883471" y="4759766"/>
            <a:ext cx="5921870" cy="165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sz="1600">
                <a:solidFill>
                  <a:schemeClr val="tx1"/>
                </a:solidFill>
              </a:rPr>
              <a:t>Are you planning to use AAD group teams?</a:t>
            </a:r>
          </a:p>
          <a:p>
            <a:pPr>
              <a:spcBef>
                <a:spcPts val="600"/>
              </a:spcBef>
            </a:pPr>
            <a:r>
              <a:rPr lang="en-US" sz="1400" i="1">
                <a:solidFill>
                  <a:schemeClr val="tx1"/>
                </a:solidFill>
              </a:rPr>
              <a:t>If yes, how and why?</a:t>
            </a:r>
          </a:p>
          <a:p>
            <a:pPr>
              <a:spcBef>
                <a:spcPts val="600"/>
              </a:spcBef>
            </a:pPr>
            <a:r>
              <a:rPr lang="en-US" sz="1400" i="1">
                <a:solidFill>
                  <a:schemeClr val="tx1"/>
                </a:solidFill>
              </a:rPr>
              <a:t>Azure Active Directory (AAD) group teams:</a:t>
            </a:r>
          </a:p>
          <a:p>
            <a:pPr marL="285750" indent="-196850">
              <a:buFont typeface="Arial" panose="020B0604020202020204" pitchFamily="34" charset="0"/>
              <a:buChar char="•"/>
            </a:pPr>
            <a:r>
              <a:rPr lang="en-US" sz="1400" i="1">
                <a:solidFill>
                  <a:schemeClr val="tx1"/>
                </a:solidFill>
              </a:rPr>
              <a:t>Offer the same options as owner teams.</a:t>
            </a:r>
          </a:p>
          <a:p>
            <a:pPr marL="285750" indent="-196850">
              <a:buFont typeface="Arial" panose="020B0604020202020204" pitchFamily="34" charset="0"/>
              <a:buChar char="•"/>
            </a:pPr>
            <a:r>
              <a:rPr lang="en-US" sz="1400" i="1">
                <a:solidFill>
                  <a:schemeClr val="tx1"/>
                </a:solidFill>
              </a:rPr>
              <a:t>Can be Security Group or Office Group (e.g., members of a Teams).</a:t>
            </a:r>
          </a:p>
          <a:p>
            <a:pPr marL="285750" indent="-196850">
              <a:buFont typeface="Arial" panose="020B0604020202020204" pitchFamily="34" charset="0"/>
              <a:buChar char="•"/>
            </a:pPr>
            <a:r>
              <a:rPr lang="en-US" sz="1400" i="1">
                <a:solidFill>
                  <a:schemeClr val="tx1"/>
                </a:solidFill>
              </a:rPr>
              <a:t>Have their membership fully driven from Azure Active Directory.</a:t>
            </a:r>
          </a:p>
          <a:p>
            <a:endParaRPr lang="en-US" sz="1600">
              <a:solidFill>
                <a:schemeClr val="tx1"/>
              </a:solidFill>
            </a:endParaRPr>
          </a:p>
        </p:txBody>
      </p:sp>
      <p:grpSp>
        <p:nvGrpSpPr>
          <p:cNvPr id="28" name="Group 27">
            <a:extLst>
              <a:ext uri="{FF2B5EF4-FFF2-40B4-BE49-F238E27FC236}">
                <a16:creationId xmlns:a16="http://schemas.microsoft.com/office/drawing/2014/main" id="{2546D9D7-5CD0-4FAA-BB8B-2742ADD67F31}"/>
              </a:ext>
            </a:extLst>
          </p:cNvPr>
          <p:cNvGrpSpPr/>
          <p:nvPr/>
        </p:nvGrpSpPr>
        <p:grpSpPr>
          <a:xfrm>
            <a:off x="451543" y="4847117"/>
            <a:ext cx="326112" cy="326112"/>
            <a:chOff x="115497" y="1864737"/>
            <a:chExt cx="461744" cy="461744"/>
          </a:xfrm>
          <a:solidFill>
            <a:schemeClr val="tx2"/>
          </a:solidFill>
        </p:grpSpPr>
        <p:sp>
          <p:nvSpPr>
            <p:cNvPr id="29" name="Freeform: Shape 28">
              <a:extLst>
                <a:ext uri="{FF2B5EF4-FFF2-40B4-BE49-F238E27FC236}">
                  <a16:creationId xmlns:a16="http://schemas.microsoft.com/office/drawing/2014/main" id="{C9C23C12-B1EE-44B7-8D8B-3C67812D6E6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0" name="Graphic 77">
              <a:extLst>
                <a:ext uri="{FF2B5EF4-FFF2-40B4-BE49-F238E27FC236}">
                  <a16:creationId xmlns:a16="http://schemas.microsoft.com/office/drawing/2014/main" id="{D1E48521-9D97-4DB7-9EFC-731BA3F5AECD}"/>
                </a:ext>
              </a:extLst>
            </p:cNvPr>
            <p:cNvSpPr/>
            <p:nvPr/>
          </p:nvSpPr>
          <p:spPr>
            <a:xfrm>
              <a:off x="230796" y="2004258"/>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 name="Rectangle: Rounded Corners 4">
            <a:extLst>
              <a:ext uri="{FF2B5EF4-FFF2-40B4-BE49-F238E27FC236}">
                <a16:creationId xmlns:a16="http://schemas.microsoft.com/office/drawing/2014/main" id="{54AB34CD-0B33-428C-B050-F17D9EBA75BC}"/>
              </a:ext>
            </a:extLst>
          </p:cNvPr>
          <p:cNvSpPr/>
          <p:nvPr/>
        </p:nvSpPr>
        <p:spPr bwMode="auto">
          <a:xfrm>
            <a:off x="11243737" y="203842"/>
            <a:ext cx="720000" cy="720000"/>
          </a:xfrm>
          <a:prstGeom prst="roundRect">
            <a:avLst/>
          </a:prstGeom>
          <a:solidFill>
            <a:srgbClr val="191919"/>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4CCBED"/>
                </a:solidFill>
                <a:effectLst/>
                <a:uLnTx/>
                <a:uFillTx/>
                <a:latin typeface="Segoe UI"/>
                <a:ea typeface="Segoe UI" pitchFamily="34" charset="0"/>
                <a:cs typeface="Segoe UI" pitchFamily="34" charset="0"/>
              </a:rPr>
              <a:t>CE</a:t>
            </a:r>
          </a:p>
        </p:txBody>
      </p:sp>
    </p:spTree>
    <p:extLst>
      <p:ext uri="{BB962C8B-B14F-4D97-AF65-F5344CB8AC3E}">
        <p14:creationId xmlns:p14="http://schemas.microsoft.com/office/powerpoint/2010/main" val="29823604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457200"/>
            <a:ext cx="10554219" cy="553998"/>
          </a:xfrm>
        </p:spPr>
        <p:txBody>
          <a:bodyPr/>
          <a:lstStyle/>
          <a:p>
            <a:r>
              <a:rPr lang="en-US"/>
              <a:t>Other security mechanisms</a:t>
            </a:r>
          </a:p>
        </p:txBody>
      </p:sp>
      <p:sp>
        <p:nvSpPr>
          <p:cNvPr id="20" name="Rectangle 19">
            <a:extLst>
              <a:ext uri="{FF2B5EF4-FFF2-40B4-BE49-F238E27FC236}">
                <a16:creationId xmlns:a16="http://schemas.microsoft.com/office/drawing/2014/main" id="{8993611A-AF72-44E5-BB38-BEB9A5F83D66}"/>
              </a:ext>
            </a:extLst>
          </p:cNvPr>
          <p:cNvSpPr/>
          <p:nvPr/>
        </p:nvSpPr>
        <p:spPr>
          <a:xfrm>
            <a:off x="878110" y="1189176"/>
            <a:ext cx="5910853" cy="93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sz="1600">
                <a:solidFill>
                  <a:schemeClr val="tx1"/>
                </a:solidFill>
              </a:rPr>
              <a:t>Do you plan to use field-level security?</a:t>
            </a:r>
            <a:endParaRPr lang="en-US" sz="1400" i="1">
              <a:solidFill>
                <a:schemeClr val="tx1"/>
              </a:solidFill>
            </a:endParaRPr>
          </a:p>
          <a:p>
            <a:pPr>
              <a:spcBef>
                <a:spcPts val="600"/>
              </a:spcBef>
            </a:pPr>
            <a:r>
              <a:rPr lang="en-US" sz="1400" i="1">
                <a:solidFill>
                  <a:schemeClr val="tx1"/>
                </a:solidFill>
              </a:rPr>
              <a:t>If yes, please detail the number of tables and columns</a:t>
            </a:r>
          </a:p>
        </p:txBody>
      </p:sp>
      <p:grpSp>
        <p:nvGrpSpPr>
          <p:cNvPr id="21" name="Group 20">
            <a:extLst>
              <a:ext uri="{FF2B5EF4-FFF2-40B4-BE49-F238E27FC236}">
                <a16:creationId xmlns:a16="http://schemas.microsoft.com/office/drawing/2014/main" id="{CABCF65C-E2F3-4E15-9B5E-0A4DC1E41291}"/>
              </a:ext>
            </a:extLst>
          </p:cNvPr>
          <p:cNvGrpSpPr/>
          <p:nvPr/>
        </p:nvGrpSpPr>
        <p:grpSpPr>
          <a:xfrm>
            <a:off x="446183" y="1287544"/>
            <a:ext cx="326112" cy="326112"/>
            <a:chOff x="115497" y="1864737"/>
            <a:chExt cx="461744" cy="461744"/>
          </a:xfrm>
          <a:solidFill>
            <a:schemeClr val="tx2"/>
          </a:solidFill>
        </p:grpSpPr>
        <p:sp>
          <p:nvSpPr>
            <p:cNvPr id="25" name="Freeform: Shape 24">
              <a:extLst>
                <a:ext uri="{FF2B5EF4-FFF2-40B4-BE49-F238E27FC236}">
                  <a16:creationId xmlns:a16="http://schemas.microsoft.com/office/drawing/2014/main" id="{7C25D6A2-1AC5-4C5E-A77A-61D3F6FE31C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Graphic 77">
              <a:extLst>
                <a:ext uri="{FF2B5EF4-FFF2-40B4-BE49-F238E27FC236}">
                  <a16:creationId xmlns:a16="http://schemas.microsoft.com/office/drawing/2014/main" id="{CBB5F4E7-227B-41A2-8495-CB7799C63317}"/>
                </a:ext>
              </a:extLst>
            </p:cNvPr>
            <p:cNvSpPr/>
            <p:nvPr/>
          </p:nvSpPr>
          <p:spPr>
            <a:xfrm>
              <a:off x="230796" y="2004258"/>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3" name="Rectangle 32">
            <a:extLst>
              <a:ext uri="{FF2B5EF4-FFF2-40B4-BE49-F238E27FC236}">
                <a16:creationId xmlns:a16="http://schemas.microsoft.com/office/drawing/2014/main" id="{4E6833D9-B8E8-4E22-A3C4-9785A26C6D3C}"/>
              </a:ext>
            </a:extLst>
          </p:cNvPr>
          <p:cNvSpPr/>
          <p:nvPr/>
        </p:nvSpPr>
        <p:spPr>
          <a:xfrm>
            <a:off x="6799981" y="1189180"/>
            <a:ext cx="4923802" cy="93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endParaRPr lang="en-US" sz="1600">
              <a:solidFill>
                <a:schemeClr val="tx1"/>
              </a:solidFill>
            </a:endParaRPr>
          </a:p>
        </p:txBody>
      </p:sp>
      <p:sp>
        <p:nvSpPr>
          <p:cNvPr id="40" name="Rectangle 39">
            <a:extLst>
              <a:ext uri="{FF2B5EF4-FFF2-40B4-BE49-F238E27FC236}">
                <a16:creationId xmlns:a16="http://schemas.microsoft.com/office/drawing/2014/main" id="{2FCD1F09-8989-41D1-80A4-1942ACFC4F39}"/>
              </a:ext>
            </a:extLst>
          </p:cNvPr>
          <p:cNvSpPr/>
          <p:nvPr/>
        </p:nvSpPr>
        <p:spPr>
          <a:xfrm>
            <a:off x="6799981" y="3301192"/>
            <a:ext cx="4923802" cy="93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endParaRPr lang="en-US" sz="1600">
              <a:solidFill>
                <a:schemeClr val="tx1"/>
              </a:solidFill>
            </a:endParaRPr>
          </a:p>
        </p:txBody>
      </p:sp>
      <p:sp>
        <p:nvSpPr>
          <p:cNvPr id="14" name="Rectangle 13">
            <a:extLst>
              <a:ext uri="{FF2B5EF4-FFF2-40B4-BE49-F238E27FC236}">
                <a16:creationId xmlns:a16="http://schemas.microsoft.com/office/drawing/2014/main" id="{EA8CC3DD-14C4-4EA0-8823-0A8FF631C7A4}"/>
              </a:ext>
            </a:extLst>
          </p:cNvPr>
          <p:cNvSpPr/>
          <p:nvPr/>
        </p:nvSpPr>
        <p:spPr>
          <a:xfrm>
            <a:off x="6799981" y="5413204"/>
            <a:ext cx="4923802" cy="93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endParaRPr lang="en-US" sz="1600">
              <a:solidFill>
                <a:schemeClr val="tx1"/>
              </a:solidFill>
            </a:endParaRPr>
          </a:p>
        </p:txBody>
      </p:sp>
      <p:cxnSp>
        <p:nvCxnSpPr>
          <p:cNvPr id="3" name="Straight Connector 2">
            <a:extLst>
              <a:ext uri="{FF2B5EF4-FFF2-40B4-BE49-F238E27FC236}">
                <a16:creationId xmlns:a16="http://schemas.microsoft.com/office/drawing/2014/main" id="{100200D1-16CD-467E-B5F0-85BD002B5827}"/>
              </a:ext>
            </a:extLst>
          </p:cNvPr>
          <p:cNvCxnSpPr>
            <a:cxnSpLocks/>
          </p:cNvCxnSpPr>
          <p:nvPr/>
        </p:nvCxnSpPr>
        <p:spPr>
          <a:xfrm>
            <a:off x="457200" y="2180265"/>
            <a:ext cx="11277600" cy="0"/>
          </a:xfrm>
          <a:prstGeom prst="line">
            <a:avLst/>
          </a:prstGeom>
          <a:noFill/>
          <a:ln w="3175">
            <a:solidFill>
              <a:schemeClr val="bg1">
                <a:lumMod val="75000"/>
              </a:schemeClr>
            </a:solidFill>
            <a:prstDash val="dash"/>
          </a:ln>
        </p:spPr>
      </p:cxnSp>
      <p:cxnSp>
        <p:nvCxnSpPr>
          <p:cNvPr id="4" name="Straight Connector 3">
            <a:extLst>
              <a:ext uri="{FF2B5EF4-FFF2-40B4-BE49-F238E27FC236}">
                <a16:creationId xmlns:a16="http://schemas.microsoft.com/office/drawing/2014/main" id="{E17A2B2C-FB80-4C4C-8F4D-529CE57AE49B}"/>
              </a:ext>
            </a:extLst>
          </p:cNvPr>
          <p:cNvCxnSpPr>
            <a:cxnSpLocks/>
          </p:cNvCxnSpPr>
          <p:nvPr/>
        </p:nvCxnSpPr>
        <p:spPr>
          <a:xfrm>
            <a:off x="458456" y="5348283"/>
            <a:ext cx="11277600" cy="0"/>
          </a:xfrm>
          <a:prstGeom prst="line">
            <a:avLst/>
          </a:prstGeom>
          <a:noFill/>
          <a:ln w="3175">
            <a:solidFill>
              <a:schemeClr val="bg1">
                <a:lumMod val="75000"/>
              </a:schemeClr>
            </a:solidFill>
            <a:prstDash val="dash"/>
          </a:ln>
        </p:spPr>
      </p:cxnSp>
      <p:sp>
        <p:nvSpPr>
          <p:cNvPr id="19" name="Rectangle 18">
            <a:extLst>
              <a:ext uri="{FF2B5EF4-FFF2-40B4-BE49-F238E27FC236}">
                <a16:creationId xmlns:a16="http://schemas.microsoft.com/office/drawing/2014/main" id="{0D5AF570-E4AB-44EC-87E3-84709047A6E4}"/>
              </a:ext>
            </a:extLst>
          </p:cNvPr>
          <p:cNvSpPr/>
          <p:nvPr/>
        </p:nvSpPr>
        <p:spPr>
          <a:xfrm>
            <a:off x="878110" y="2242744"/>
            <a:ext cx="5910853" cy="93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sz="1600">
                <a:solidFill>
                  <a:schemeClr val="tx1"/>
                </a:solidFill>
              </a:rPr>
              <a:t>Do you plan to use hierarchy security?</a:t>
            </a:r>
          </a:p>
          <a:p>
            <a:pPr>
              <a:spcBef>
                <a:spcPts val="600"/>
              </a:spcBef>
            </a:pPr>
            <a:r>
              <a:rPr lang="en-US" sz="1400" i="1">
                <a:solidFill>
                  <a:schemeClr val="tx1"/>
                </a:solidFill>
              </a:rPr>
              <a:t>If yes, please provide details (manager or position, use cases)</a:t>
            </a:r>
          </a:p>
        </p:txBody>
      </p:sp>
      <p:grpSp>
        <p:nvGrpSpPr>
          <p:cNvPr id="22" name="Group 21">
            <a:extLst>
              <a:ext uri="{FF2B5EF4-FFF2-40B4-BE49-F238E27FC236}">
                <a16:creationId xmlns:a16="http://schemas.microsoft.com/office/drawing/2014/main" id="{8B817AF4-D6F1-458E-916D-F313818D324C}"/>
              </a:ext>
            </a:extLst>
          </p:cNvPr>
          <p:cNvGrpSpPr/>
          <p:nvPr/>
        </p:nvGrpSpPr>
        <p:grpSpPr>
          <a:xfrm>
            <a:off x="446183" y="2341112"/>
            <a:ext cx="326112" cy="326112"/>
            <a:chOff x="115497" y="1864737"/>
            <a:chExt cx="461744" cy="461744"/>
          </a:xfrm>
          <a:solidFill>
            <a:schemeClr val="tx2"/>
          </a:solidFill>
        </p:grpSpPr>
        <p:sp>
          <p:nvSpPr>
            <p:cNvPr id="23" name="Freeform: Shape 22">
              <a:extLst>
                <a:ext uri="{FF2B5EF4-FFF2-40B4-BE49-F238E27FC236}">
                  <a16:creationId xmlns:a16="http://schemas.microsoft.com/office/drawing/2014/main" id="{5484DA3B-F8BD-462A-90AD-1B68C9A50D9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4" name="Graphic 77">
              <a:extLst>
                <a:ext uri="{FF2B5EF4-FFF2-40B4-BE49-F238E27FC236}">
                  <a16:creationId xmlns:a16="http://schemas.microsoft.com/office/drawing/2014/main" id="{E756EABF-FC17-4542-A642-0CC6FCA48BEF}"/>
                </a:ext>
              </a:extLst>
            </p:cNvPr>
            <p:cNvSpPr/>
            <p:nvPr/>
          </p:nvSpPr>
          <p:spPr>
            <a:xfrm>
              <a:off x="230796" y="2004258"/>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27" name="Rectangle 26">
            <a:extLst>
              <a:ext uri="{FF2B5EF4-FFF2-40B4-BE49-F238E27FC236}">
                <a16:creationId xmlns:a16="http://schemas.microsoft.com/office/drawing/2014/main" id="{0AA7E48F-B090-4E86-A026-DBC3AECB9CDF}"/>
              </a:ext>
            </a:extLst>
          </p:cNvPr>
          <p:cNvSpPr/>
          <p:nvPr/>
        </p:nvSpPr>
        <p:spPr>
          <a:xfrm>
            <a:off x="878111" y="4361687"/>
            <a:ext cx="5921870" cy="93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sz="1600">
                <a:solidFill>
                  <a:schemeClr val="tx1"/>
                </a:solidFill>
              </a:rPr>
              <a:t>Do you plan to review relevant table relationship behaviors and their potential impact on security?</a:t>
            </a:r>
          </a:p>
          <a:p>
            <a:pPr>
              <a:spcBef>
                <a:spcPts val="600"/>
              </a:spcBef>
            </a:pPr>
            <a:r>
              <a:rPr lang="en-US" sz="1400" i="1">
                <a:solidFill>
                  <a:schemeClr val="tx1"/>
                </a:solidFill>
              </a:rPr>
              <a:t>Share, unshare, reparent, assign, etc. can impact security of related records.</a:t>
            </a:r>
          </a:p>
        </p:txBody>
      </p:sp>
      <p:grpSp>
        <p:nvGrpSpPr>
          <p:cNvPr id="28" name="Group 27">
            <a:extLst>
              <a:ext uri="{FF2B5EF4-FFF2-40B4-BE49-F238E27FC236}">
                <a16:creationId xmlns:a16="http://schemas.microsoft.com/office/drawing/2014/main" id="{2546D9D7-5CD0-4FAA-BB8B-2742ADD67F31}"/>
              </a:ext>
            </a:extLst>
          </p:cNvPr>
          <p:cNvGrpSpPr/>
          <p:nvPr/>
        </p:nvGrpSpPr>
        <p:grpSpPr>
          <a:xfrm>
            <a:off x="446183" y="4460055"/>
            <a:ext cx="326112" cy="326112"/>
            <a:chOff x="115497" y="1864737"/>
            <a:chExt cx="461744" cy="461744"/>
          </a:xfrm>
          <a:solidFill>
            <a:schemeClr val="tx2"/>
          </a:solidFill>
        </p:grpSpPr>
        <p:sp>
          <p:nvSpPr>
            <p:cNvPr id="29" name="Freeform: Shape 28">
              <a:extLst>
                <a:ext uri="{FF2B5EF4-FFF2-40B4-BE49-F238E27FC236}">
                  <a16:creationId xmlns:a16="http://schemas.microsoft.com/office/drawing/2014/main" id="{C9C23C12-B1EE-44B7-8D8B-3C67812D6E6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0" name="Graphic 77">
              <a:extLst>
                <a:ext uri="{FF2B5EF4-FFF2-40B4-BE49-F238E27FC236}">
                  <a16:creationId xmlns:a16="http://schemas.microsoft.com/office/drawing/2014/main" id="{D1E48521-9D97-4DB7-9EFC-731BA3F5AECD}"/>
                </a:ext>
              </a:extLst>
            </p:cNvPr>
            <p:cNvSpPr/>
            <p:nvPr/>
          </p:nvSpPr>
          <p:spPr>
            <a:xfrm>
              <a:off x="230796" y="2004258"/>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1" name="Rectangle 30">
            <a:extLst>
              <a:ext uri="{FF2B5EF4-FFF2-40B4-BE49-F238E27FC236}">
                <a16:creationId xmlns:a16="http://schemas.microsoft.com/office/drawing/2014/main" id="{99FE5128-8663-4248-A012-C414DF455796}"/>
              </a:ext>
            </a:extLst>
          </p:cNvPr>
          <p:cNvSpPr/>
          <p:nvPr/>
        </p:nvSpPr>
        <p:spPr>
          <a:xfrm>
            <a:off x="6799981" y="4357198"/>
            <a:ext cx="4923802" cy="93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endParaRPr lang="en-US" sz="1600">
              <a:solidFill>
                <a:schemeClr val="tx1"/>
              </a:solidFill>
            </a:endParaRPr>
          </a:p>
        </p:txBody>
      </p:sp>
      <p:sp>
        <p:nvSpPr>
          <p:cNvPr id="32" name="Rectangle 31">
            <a:extLst>
              <a:ext uri="{FF2B5EF4-FFF2-40B4-BE49-F238E27FC236}">
                <a16:creationId xmlns:a16="http://schemas.microsoft.com/office/drawing/2014/main" id="{20650E7F-06F8-41E2-AEB8-A377F0E9E4A5}"/>
              </a:ext>
            </a:extLst>
          </p:cNvPr>
          <p:cNvSpPr/>
          <p:nvPr/>
        </p:nvSpPr>
        <p:spPr>
          <a:xfrm>
            <a:off x="6799981" y="2245186"/>
            <a:ext cx="4923802" cy="93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endParaRPr lang="en-US" sz="1600">
              <a:solidFill>
                <a:schemeClr val="tx1"/>
              </a:solidFill>
            </a:endParaRPr>
          </a:p>
        </p:txBody>
      </p:sp>
      <p:cxnSp>
        <p:nvCxnSpPr>
          <p:cNvPr id="34" name="Straight Connector 33">
            <a:extLst>
              <a:ext uri="{FF2B5EF4-FFF2-40B4-BE49-F238E27FC236}">
                <a16:creationId xmlns:a16="http://schemas.microsoft.com/office/drawing/2014/main" id="{32EA4B67-B173-498C-963B-893E85E6F336}"/>
              </a:ext>
            </a:extLst>
          </p:cNvPr>
          <p:cNvCxnSpPr>
            <a:cxnSpLocks/>
          </p:cNvCxnSpPr>
          <p:nvPr/>
        </p:nvCxnSpPr>
        <p:spPr>
          <a:xfrm>
            <a:off x="446183" y="3236285"/>
            <a:ext cx="11277600" cy="0"/>
          </a:xfrm>
          <a:prstGeom prst="line">
            <a:avLst/>
          </a:prstGeom>
          <a:noFill/>
          <a:ln w="3175">
            <a:solidFill>
              <a:schemeClr val="bg1">
                <a:lumMod val="75000"/>
              </a:schemeClr>
            </a:solidFill>
            <a:prstDash val="dash"/>
          </a:ln>
        </p:spPr>
      </p:cxnSp>
      <p:cxnSp>
        <p:nvCxnSpPr>
          <p:cNvPr id="35" name="Straight Connector 34">
            <a:extLst>
              <a:ext uri="{FF2B5EF4-FFF2-40B4-BE49-F238E27FC236}">
                <a16:creationId xmlns:a16="http://schemas.microsoft.com/office/drawing/2014/main" id="{35B4604B-73E6-43A2-BBEE-99A2D35E7C4D}"/>
              </a:ext>
            </a:extLst>
          </p:cNvPr>
          <p:cNvCxnSpPr>
            <a:cxnSpLocks/>
          </p:cNvCxnSpPr>
          <p:nvPr/>
        </p:nvCxnSpPr>
        <p:spPr>
          <a:xfrm>
            <a:off x="438690" y="4299439"/>
            <a:ext cx="11277600" cy="0"/>
          </a:xfrm>
          <a:prstGeom prst="line">
            <a:avLst/>
          </a:prstGeom>
          <a:noFill/>
          <a:ln w="3175">
            <a:solidFill>
              <a:schemeClr val="bg1">
                <a:lumMod val="75000"/>
              </a:schemeClr>
            </a:solidFill>
            <a:prstDash val="dash"/>
          </a:ln>
        </p:spPr>
      </p:cxnSp>
      <p:sp>
        <p:nvSpPr>
          <p:cNvPr id="36" name="Rectangle 35">
            <a:extLst>
              <a:ext uri="{FF2B5EF4-FFF2-40B4-BE49-F238E27FC236}">
                <a16:creationId xmlns:a16="http://schemas.microsoft.com/office/drawing/2014/main" id="{D605AD90-8006-4E14-AD43-41626111AA21}"/>
              </a:ext>
            </a:extLst>
          </p:cNvPr>
          <p:cNvSpPr/>
          <p:nvPr/>
        </p:nvSpPr>
        <p:spPr>
          <a:xfrm>
            <a:off x="889127" y="3328735"/>
            <a:ext cx="5910853" cy="93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sz="1600">
                <a:solidFill>
                  <a:schemeClr val="tx1"/>
                </a:solidFill>
              </a:rPr>
              <a:t>Do you plan to automate sharing?</a:t>
            </a:r>
            <a:endParaRPr lang="en-US" sz="1400" i="1">
              <a:solidFill>
                <a:schemeClr val="tx1"/>
              </a:solidFill>
            </a:endParaRPr>
          </a:p>
          <a:p>
            <a:pPr>
              <a:spcBef>
                <a:spcPts val="600"/>
              </a:spcBef>
            </a:pPr>
            <a:r>
              <a:rPr lang="en-US" sz="1400" i="1">
                <a:solidFill>
                  <a:schemeClr val="tx1"/>
                </a:solidFill>
              </a:rPr>
              <a:t>If yes, please provide details as to why and how</a:t>
            </a:r>
          </a:p>
        </p:txBody>
      </p:sp>
      <p:grpSp>
        <p:nvGrpSpPr>
          <p:cNvPr id="37" name="Group 36">
            <a:extLst>
              <a:ext uri="{FF2B5EF4-FFF2-40B4-BE49-F238E27FC236}">
                <a16:creationId xmlns:a16="http://schemas.microsoft.com/office/drawing/2014/main" id="{1848F173-9011-44CD-8283-BBA84F8E4EB3}"/>
              </a:ext>
            </a:extLst>
          </p:cNvPr>
          <p:cNvGrpSpPr/>
          <p:nvPr/>
        </p:nvGrpSpPr>
        <p:grpSpPr>
          <a:xfrm>
            <a:off x="457200" y="3427103"/>
            <a:ext cx="326112" cy="326112"/>
            <a:chOff x="115497" y="1864737"/>
            <a:chExt cx="461744" cy="461744"/>
          </a:xfrm>
          <a:solidFill>
            <a:schemeClr val="tx2"/>
          </a:solidFill>
        </p:grpSpPr>
        <p:sp>
          <p:nvSpPr>
            <p:cNvPr id="38" name="Freeform: Shape 37">
              <a:extLst>
                <a:ext uri="{FF2B5EF4-FFF2-40B4-BE49-F238E27FC236}">
                  <a16:creationId xmlns:a16="http://schemas.microsoft.com/office/drawing/2014/main" id="{62F8B781-8B34-4CE6-BEA8-97FF22A612D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9" name="Graphic 77">
              <a:extLst>
                <a:ext uri="{FF2B5EF4-FFF2-40B4-BE49-F238E27FC236}">
                  <a16:creationId xmlns:a16="http://schemas.microsoft.com/office/drawing/2014/main" id="{B6D609B1-8B9C-413B-BA41-5AB55B5A9846}"/>
                </a:ext>
              </a:extLst>
            </p:cNvPr>
            <p:cNvSpPr/>
            <p:nvPr/>
          </p:nvSpPr>
          <p:spPr>
            <a:xfrm>
              <a:off x="230796" y="2004258"/>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1" name="Rectangle 40">
            <a:extLst>
              <a:ext uri="{FF2B5EF4-FFF2-40B4-BE49-F238E27FC236}">
                <a16:creationId xmlns:a16="http://schemas.microsoft.com/office/drawing/2014/main" id="{75EADC57-52D4-41CB-9FC9-62671BC6F3E9}"/>
              </a:ext>
            </a:extLst>
          </p:cNvPr>
          <p:cNvSpPr/>
          <p:nvPr/>
        </p:nvSpPr>
        <p:spPr>
          <a:xfrm>
            <a:off x="878110" y="5410530"/>
            <a:ext cx="5910853" cy="93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sz="1600">
                <a:solidFill>
                  <a:schemeClr val="tx1"/>
                </a:solidFill>
              </a:rPr>
              <a:t>Do you use any other mechanism to implement security?</a:t>
            </a:r>
          </a:p>
          <a:p>
            <a:pPr>
              <a:spcBef>
                <a:spcPts val="600"/>
              </a:spcBef>
            </a:pPr>
            <a:r>
              <a:rPr lang="en-US" sz="1400" i="1">
                <a:solidFill>
                  <a:schemeClr val="tx1"/>
                </a:solidFill>
              </a:rPr>
              <a:t>If yes, please provide details as to why and how</a:t>
            </a:r>
          </a:p>
        </p:txBody>
      </p:sp>
      <p:grpSp>
        <p:nvGrpSpPr>
          <p:cNvPr id="42" name="Group 41">
            <a:extLst>
              <a:ext uri="{FF2B5EF4-FFF2-40B4-BE49-F238E27FC236}">
                <a16:creationId xmlns:a16="http://schemas.microsoft.com/office/drawing/2014/main" id="{9D4A3FF6-7572-4E83-A416-E2C38BBD9634}"/>
              </a:ext>
            </a:extLst>
          </p:cNvPr>
          <p:cNvGrpSpPr/>
          <p:nvPr/>
        </p:nvGrpSpPr>
        <p:grpSpPr>
          <a:xfrm>
            <a:off x="446183" y="5508898"/>
            <a:ext cx="326112" cy="326112"/>
            <a:chOff x="115497" y="1864737"/>
            <a:chExt cx="461744" cy="461744"/>
          </a:xfrm>
          <a:solidFill>
            <a:schemeClr val="tx2"/>
          </a:solidFill>
        </p:grpSpPr>
        <p:sp>
          <p:nvSpPr>
            <p:cNvPr id="43" name="Freeform: Shape 42">
              <a:extLst>
                <a:ext uri="{FF2B5EF4-FFF2-40B4-BE49-F238E27FC236}">
                  <a16:creationId xmlns:a16="http://schemas.microsoft.com/office/drawing/2014/main" id="{650E83EC-1C22-4851-85E8-D29BEF18C3C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4" name="Graphic 77">
              <a:extLst>
                <a:ext uri="{FF2B5EF4-FFF2-40B4-BE49-F238E27FC236}">
                  <a16:creationId xmlns:a16="http://schemas.microsoft.com/office/drawing/2014/main" id="{AE5BA878-9241-4134-A04D-8EF0531CC206}"/>
                </a:ext>
              </a:extLst>
            </p:cNvPr>
            <p:cNvSpPr/>
            <p:nvPr/>
          </p:nvSpPr>
          <p:spPr>
            <a:xfrm>
              <a:off x="230796" y="2004258"/>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 name="Rectangle: Rounded Corners 4">
            <a:extLst>
              <a:ext uri="{FF2B5EF4-FFF2-40B4-BE49-F238E27FC236}">
                <a16:creationId xmlns:a16="http://schemas.microsoft.com/office/drawing/2014/main" id="{1BA7A6A2-21C0-46D2-BF0D-1FCA1BB1FA09}"/>
              </a:ext>
            </a:extLst>
          </p:cNvPr>
          <p:cNvSpPr/>
          <p:nvPr/>
        </p:nvSpPr>
        <p:spPr bwMode="auto">
          <a:xfrm>
            <a:off x="11243737" y="203842"/>
            <a:ext cx="720000" cy="720000"/>
          </a:xfrm>
          <a:prstGeom prst="roundRect">
            <a:avLst/>
          </a:prstGeom>
          <a:solidFill>
            <a:srgbClr val="191919"/>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4CCBED"/>
                </a:solidFill>
                <a:effectLst/>
                <a:uLnTx/>
                <a:uFillTx/>
                <a:latin typeface="Segoe UI"/>
                <a:ea typeface="Segoe UI" pitchFamily="34" charset="0"/>
                <a:cs typeface="Segoe UI" pitchFamily="34" charset="0"/>
              </a:rPr>
              <a:t>CE</a:t>
            </a:r>
          </a:p>
        </p:txBody>
      </p:sp>
    </p:spTree>
    <p:extLst>
      <p:ext uri="{BB962C8B-B14F-4D97-AF65-F5344CB8AC3E}">
        <p14:creationId xmlns:p14="http://schemas.microsoft.com/office/powerpoint/2010/main" val="12079133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457200"/>
            <a:ext cx="10497659" cy="553998"/>
          </a:xfrm>
        </p:spPr>
        <p:txBody>
          <a:bodyPr/>
          <a:lstStyle/>
          <a:p>
            <a:r>
              <a:rPr lang="en-US"/>
              <a:t>User interface</a:t>
            </a:r>
          </a:p>
        </p:txBody>
      </p:sp>
      <p:sp>
        <p:nvSpPr>
          <p:cNvPr id="20" name="Rectangle 19">
            <a:extLst>
              <a:ext uri="{FF2B5EF4-FFF2-40B4-BE49-F238E27FC236}">
                <a16:creationId xmlns:a16="http://schemas.microsoft.com/office/drawing/2014/main" id="{8993611A-AF72-44E5-BB38-BEB9A5F83D66}"/>
              </a:ext>
            </a:extLst>
          </p:cNvPr>
          <p:cNvSpPr/>
          <p:nvPr/>
        </p:nvSpPr>
        <p:spPr>
          <a:xfrm>
            <a:off x="889128" y="1189176"/>
            <a:ext cx="5810694" cy="50313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sz="1600">
                <a:solidFill>
                  <a:schemeClr val="tx1"/>
                </a:solidFill>
              </a:rPr>
              <a:t>How do you plan to leverage security roles to simplify UX and create role-based experiences?</a:t>
            </a:r>
          </a:p>
          <a:p>
            <a:endParaRPr lang="en-US" sz="1600">
              <a:solidFill>
                <a:schemeClr val="tx1"/>
              </a:solidFill>
            </a:endParaRPr>
          </a:p>
          <a:p>
            <a:pPr>
              <a:spcBef>
                <a:spcPts val="600"/>
              </a:spcBef>
            </a:pPr>
            <a:r>
              <a:rPr lang="en-US" sz="1400" i="1">
                <a:solidFill>
                  <a:schemeClr val="tx1"/>
                </a:solidFill>
              </a:rPr>
              <a:t>Security roles and privileges can be used to limit visibility on some components of the user interface, such as:</a:t>
            </a:r>
          </a:p>
          <a:p>
            <a:pPr marL="285750" indent="-196850">
              <a:spcBef>
                <a:spcPts val="300"/>
              </a:spcBef>
              <a:buFont typeface="Arial" panose="020B0604020202020204" pitchFamily="34" charset="0"/>
              <a:buChar char="•"/>
            </a:pPr>
            <a:r>
              <a:rPr lang="en-US" sz="1400" i="1">
                <a:solidFill>
                  <a:schemeClr val="tx1"/>
                </a:solidFill>
              </a:rPr>
              <a:t>Model-driven apps</a:t>
            </a:r>
          </a:p>
          <a:p>
            <a:pPr marL="285750" indent="-196850">
              <a:spcBef>
                <a:spcPts val="300"/>
              </a:spcBef>
              <a:buFont typeface="Arial" panose="020B0604020202020204" pitchFamily="34" charset="0"/>
              <a:buChar char="•"/>
            </a:pPr>
            <a:r>
              <a:rPr lang="en-US" sz="1400" i="1">
                <a:solidFill>
                  <a:schemeClr val="tx1"/>
                </a:solidFill>
              </a:rPr>
              <a:t>Dashboards</a:t>
            </a:r>
          </a:p>
          <a:p>
            <a:pPr marL="285750" indent="-196850">
              <a:spcBef>
                <a:spcPts val="300"/>
              </a:spcBef>
              <a:buFont typeface="Arial" panose="020B0604020202020204" pitchFamily="34" charset="0"/>
              <a:buChar char="•"/>
            </a:pPr>
            <a:r>
              <a:rPr lang="en-US" sz="1400" i="1">
                <a:solidFill>
                  <a:schemeClr val="tx1"/>
                </a:solidFill>
              </a:rPr>
              <a:t>Main forms</a:t>
            </a:r>
          </a:p>
          <a:p>
            <a:pPr marL="285750" indent="-196850">
              <a:spcBef>
                <a:spcPts val="300"/>
              </a:spcBef>
              <a:buFont typeface="Arial" panose="020B0604020202020204" pitchFamily="34" charset="0"/>
              <a:buChar char="•"/>
            </a:pPr>
            <a:r>
              <a:rPr lang="en-US" sz="1400" i="1">
                <a:solidFill>
                  <a:schemeClr val="tx1"/>
                </a:solidFill>
              </a:rPr>
              <a:t>Business process flows</a:t>
            </a:r>
          </a:p>
          <a:p>
            <a:pPr marL="285750" indent="-196850">
              <a:spcBef>
                <a:spcPts val="300"/>
              </a:spcBef>
              <a:buFont typeface="Arial" panose="020B0604020202020204" pitchFamily="34" charset="0"/>
              <a:buChar char="•"/>
            </a:pPr>
            <a:r>
              <a:rPr lang="en-US" sz="1400" i="1">
                <a:solidFill>
                  <a:schemeClr val="tx1"/>
                </a:solidFill>
              </a:rPr>
              <a:t>Navigation sitemap sub-areas</a:t>
            </a:r>
          </a:p>
          <a:p>
            <a:pPr marL="285750" indent="-196850">
              <a:spcBef>
                <a:spcPts val="300"/>
              </a:spcBef>
              <a:buFont typeface="Arial" panose="020B0604020202020204" pitchFamily="34" charset="0"/>
              <a:buChar char="•"/>
            </a:pPr>
            <a:r>
              <a:rPr lang="en-US" sz="1400" i="1">
                <a:solidFill>
                  <a:schemeClr val="tx1"/>
                </a:solidFill>
              </a:rPr>
              <a:t>Command bar (ribbon) buttons</a:t>
            </a:r>
          </a:p>
          <a:p>
            <a:pPr marL="285750" indent="-196850">
              <a:spcBef>
                <a:spcPts val="300"/>
              </a:spcBef>
              <a:buFont typeface="Arial" panose="020B0604020202020204" pitchFamily="34" charset="0"/>
              <a:buChar char="•"/>
            </a:pPr>
            <a:r>
              <a:rPr lang="en-US" sz="1400" i="1">
                <a:solidFill>
                  <a:schemeClr val="tx1"/>
                </a:solidFill>
              </a:rPr>
              <a:t>Document templates</a:t>
            </a:r>
          </a:p>
        </p:txBody>
      </p:sp>
      <p:grpSp>
        <p:nvGrpSpPr>
          <p:cNvPr id="21" name="Group 20">
            <a:extLst>
              <a:ext uri="{FF2B5EF4-FFF2-40B4-BE49-F238E27FC236}">
                <a16:creationId xmlns:a16="http://schemas.microsoft.com/office/drawing/2014/main" id="{CABCF65C-E2F3-4E15-9B5E-0A4DC1E41291}"/>
              </a:ext>
            </a:extLst>
          </p:cNvPr>
          <p:cNvGrpSpPr/>
          <p:nvPr/>
        </p:nvGrpSpPr>
        <p:grpSpPr>
          <a:xfrm>
            <a:off x="457200" y="1326108"/>
            <a:ext cx="326112" cy="326112"/>
            <a:chOff x="115497" y="1864737"/>
            <a:chExt cx="461744" cy="461744"/>
          </a:xfrm>
          <a:solidFill>
            <a:schemeClr val="tx2"/>
          </a:solidFill>
        </p:grpSpPr>
        <p:sp>
          <p:nvSpPr>
            <p:cNvPr id="25" name="Freeform: Shape 24">
              <a:extLst>
                <a:ext uri="{FF2B5EF4-FFF2-40B4-BE49-F238E27FC236}">
                  <a16:creationId xmlns:a16="http://schemas.microsoft.com/office/drawing/2014/main" id="{7C25D6A2-1AC5-4C5E-A77A-61D3F6FE31C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Graphic 77">
              <a:extLst>
                <a:ext uri="{FF2B5EF4-FFF2-40B4-BE49-F238E27FC236}">
                  <a16:creationId xmlns:a16="http://schemas.microsoft.com/office/drawing/2014/main" id="{CBB5F4E7-227B-41A2-8495-CB7799C6331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3" name="Rectangle 32">
            <a:extLst>
              <a:ext uri="{FF2B5EF4-FFF2-40B4-BE49-F238E27FC236}">
                <a16:creationId xmlns:a16="http://schemas.microsoft.com/office/drawing/2014/main" id="{4E6833D9-B8E8-4E22-A3C4-9785A26C6D3C}"/>
              </a:ext>
            </a:extLst>
          </p:cNvPr>
          <p:cNvSpPr/>
          <p:nvPr/>
        </p:nvSpPr>
        <p:spPr>
          <a:xfrm>
            <a:off x="6810998" y="1193158"/>
            <a:ext cx="4923802" cy="50313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Add details here</a:t>
            </a:r>
            <a:br>
              <a:rPr lang="en-US" sz="1600">
                <a:solidFill>
                  <a:schemeClr val="tx1"/>
                </a:solidFill>
              </a:rPr>
            </a:br>
            <a:br>
              <a:rPr lang="en-US" sz="1600">
                <a:solidFill>
                  <a:schemeClr val="tx1"/>
                </a:solidFill>
              </a:rPr>
            </a:br>
            <a:r>
              <a:rPr lang="en-US" sz="1600">
                <a:solidFill>
                  <a:schemeClr val="tx1"/>
                </a:solidFill>
              </a:rPr>
              <a:t>(See slide notes for additional information)</a:t>
            </a:r>
          </a:p>
          <a:p>
            <a:endParaRPr lang="en-US" sz="1600">
              <a:solidFill>
                <a:schemeClr val="tx1"/>
              </a:solidFill>
            </a:endParaRPr>
          </a:p>
        </p:txBody>
      </p:sp>
      <p:sp>
        <p:nvSpPr>
          <p:cNvPr id="3" name="Rectangle: Rounded Corners 2">
            <a:extLst>
              <a:ext uri="{FF2B5EF4-FFF2-40B4-BE49-F238E27FC236}">
                <a16:creationId xmlns:a16="http://schemas.microsoft.com/office/drawing/2014/main" id="{F82168C8-58C3-47AC-838D-237F7495B393}"/>
              </a:ext>
            </a:extLst>
          </p:cNvPr>
          <p:cNvSpPr/>
          <p:nvPr/>
        </p:nvSpPr>
        <p:spPr bwMode="auto">
          <a:xfrm>
            <a:off x="11243737" y="203842"/>
            <a:ext cx="720000" cy="720000"/>
          </a:xfrm>
          <a:prstGeom prst="roundRect">
            <a:avLst/>
          </a:prstGeom>
          <a:solidFill>
            <a:srgbClr val="191919"/>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4CCBED"/>
                </a:solidFill>
                <a:effectLst/>
                <a:uLnTx/>
                <a:uFillTx/>
                <a:latin typeface="Segoe UI"/>
                <a:ea typeface="Segoe UI" pitchFamily="34" charset="0"/>
                <a:cs typeface="Segoe UI" pitchFamily="34" charset="0"/>
              </a:rPr>
              <a:t>CE</a:t>
            </a:r>
          </a:p>
        </p:txBody>
      </p:sp>
    </p:spTree>
    <p:extLst>
      <p:ext uri="{BB962C8B-B14F-4D97-AF65-F5344CB8AC3E}">
        <p14:creationId xmlns:p14="http://schemas.microsoft.com/office/powerpoint/2010/main" val="33140658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7AA28988-B00E-40C5-B3D3-B0082731570B}"/>
              </a:ext>
            </a:extLst>
          </p:cNvPr>
          <p:cNvSpPr txBox="1">
            <a:spLocks noGrp="1"/>
          </p:cNvSpPr>
          <p:nvPr>
            <p:ph type="title" idx="4294967295"/>
          </p:nvPr>
        </p:nvSpPr>
        <p:spPr>
          <a:xfrm>
            <a:off x="585216" y="2651888"/>
            <a:ext cx="11206734" cy="1554224"/>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50" normalizeH="0" baseline="0" noProof="0">
                <a:ln w="3175">
                  <a:noFill/>
                </a:ln>
                <a:solidFill>
                  <a:schemeClr val="tx1"/>
                </a:solidFill>
                <a:effectLst/>
                <a:uLnTx/>
                <a:uFillTx/>
                <a:latin typeface="+mj-lt"/>
                <a:ea typeface="+mn-ea"/>
                <a:cs typeface="Segoe UI"/>
              </a:rPr>
              <a:t>Security strategy </a:t>
            </a:r>
            <a:br>
              <a:rPr kumimoji="0" lang="en-US" sz="4400" b="0" i="0" u="none" strike="noStrike" kern="1200" cap="none" spc="-50" normalizeH="0" baseline="0" noProof="0">
                <a:ln w="3175">
                  <a:noFill/>
                </a:ln>
                <a:solidFill>
                  <a:srgbClr val="4CCBED"/>
                </a:solidFill>
                <a:effectLst/>
                <a:uLnTx/>
                <a:uFillTx/>
                <a:latin typeface="+mj-lt"/>
                <a:ea typeface="+mn-ea"/>
                <a:cs typeface="Segoe UI"/>
              </a:rPr>
            </a:br>
            <a:r>
              <a:rPr kumimoji="0" lang="en-US" sz="4400" b="0" i="0" u="none" strike="noStrike" kern="1200" cap="none" spc="-50" normalizeH="0" baseline="0" noProof="0">
                <a:ln w="3175">
                  <a:noFill/>
                </a:ln>
                <a:solidFill>
                  <a:srgbClr val="4CCBED"/>
                </a:solidFill>
                <a:effectLst/>
                <a:uLnTx/>
                <a:uFillTx/>
                <a:latin typeface="+mj-lt"/>
                <a:ea typeface="+mn-ea"/>
                <a:cs typeface="Segoe UI"/>
              </a:rPr>
              <a:t>Implementation (beyond Dynamics 365)</a:t>
            </a:r>
          </a:p>
        </p:txBody>
      </p:sp>
    </p:spTree>
    <p:extLst>
      <p:ext uri="{BB962C8B-B14F-4D97-AF65-F5344CB8AC3E}">
        <p14:creationId xmlns:p14="http://schemas.microsoft.com/office/powerpoint/2010/main" val="17411233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457200"/>
            <a:ext cx="11018520" cy="553998"/>
          </a:xfrm>
        </p:spPr>
        <p:txBody>
          <a:bodyPr/>
          <a:lstStyle/>
          <a:p>
            <a:r>
              <a:rPr lang="en-US"/>
              <a:t>Scalability, performance, maintainability </a:t>
            </a:r>
          </a:p>
        </p:txBody>
      </p:sp>
      <p:sp>
        <p:nvSpPr>
          <p:cNvPr id="20" name="Rectangle 19">
            <a:extLst>
              <a:ext uri="{FF2B5EF4-FFF2-40B4-BE49-F238E27FC236}">
                <a16:creationId xmlns:a16="http://schemas.microsoft.com/office/drawing/2014/main" id="{8993611A-AF72-44E5-BB38-BEB9A5F83D66}"/>
              </a:ext>
            </a:extLst>
          </p:cNvPr>
          <p:cNvSpPr/>
          <p:nvPr/>
        </p:nvSpPr>
        <p:spPr>
          <a:xfrm>
            <a:off x="878111" y="1189175"/>
            <a:ext cx="5921870" cy="50243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spcBef>
                <a:spcPts val="600"/>
              </a:spcBef>
            </a:pPr>
            <a:r>
              <a:rPr lang="en-US" sz="1600">
                <a:solidFill>
                  <a:schemeClr val="tx1"/>
                </a:solidFill>
              </a:rPr>
              <a:t>Have you identified potential challenges in your security design that could impact performance or maintainability at scale?</a:t>
            </a:r>
          </a:p>
          <a:p>
            <a:pPr>
              <a:spcBef>
                <a:spcPts val="600"/>
              </a:spcBef>
            </a:pPr>
            <a:r>
              <a:rPr lang="en-US" sz="1400" i="1">
                <a:solidFill>
                  <a:schemeClr val="tx1"/>
                </a:solidFill>
              </a:rPr>
              <a:t>If yes, please detail these challenges</a:t>
            </a:r>
          </a:p>
          <a:p>
            <a:pPr>
              <a:spcBef>
                <a:spcPts val="600"/>
              </a:spcBef>
            </a:pPr>
            <a:endParaRPr lang="en-US" sz="1400" i="1">
              <a:solidFill>
                <a:schemeClr val="tx1"/>
              </a:solidFill>
            </a:endParaRPr>
          </a:p>
          <a:p>
            <a:pPr>
              <a:spcBef>
                <a:spcPts val="600"/>
              </a:spcBef>
            </a:pPr>
            <a:r>
              <a:rPr lang="en-US" sz="1400" i="1">
                <a:solidFill>
                  <a:schemeClr val="tx1"/>
                </a:solidFill>
              </a:rPr>
              <a:t>Example of concerns:</a:t>
            </a:r>
          </a:p>
          <a:p>
            <a:pPr marL="285750" indent="-196850">
              <a:spcBef>
                <a:spcPts val="300"/>
              </a:spcBef>
              <a:buFont typeface="Arial" panose="020B0604020202020204" pitchFamily="34" charset="0"/>
              <a:buChar char="•"/>
            </a:pPr>
            <a:r>
              <a:rPr lang="en-US" sz="1400" i="1">
                <a:solidFill>
                  <a:schemeClr val="tx1"/>
                </a:solidFill>
              </a:rPr>
              <a:t>Performance issues when using sharing for large volumes of data.</a:t>
            </a:r>
          </a:p>
          <a:p>
            <a:pPr marL="285750" indent="-196850">
              <a:spcBef>
                <a:spcPts val="300"/>
              </a:spcBef>
              <a:buFont typeface="Arial" panose="020B0604020202020204" pitchFamily="34" charset="0"/>
              <a:buChar char="•"/>
            </a:pPr>
            <a:r>
              <a:rPr lang="en-US" sz="1400" i="1">
                <a:solidFill>
                  <a:schemeClr val="tx1"/>
                </a:solidFill>
              </a:rPr>
              <a:t>Performance issues when custom logic is implemented to retrieve data.</a:t>
            </a:r>
          </a:p>
          <a:p>
            <a:pPr marL="285750" indent="-196850">
              <a:spcBef>
                <a:spcPts val="300"/>
              </a:spcBef>
              <a:buFont typeface="Arial" panose="020B0604020202020204" pitchFamily="34" charset="0"/>
              <a:buChar char="•"/>
            </a:pPr>
            <a:r>
              <a:rPr lang="en-US" sz="1400" i="1">
                <a:solidFill>
                  <a:schemeClr val="tx1"/>
                </a:solidFill>
              </a:rPr>
              <a:t>Performance issues for relationship behaviors.</a:t>
            </a:r>
          </a:p>
          <a:p>
            <a:pPr marL="285750" indent="-196850">
              <a:spcBef>
                <a:spcPts val="300"/>
              </a:spcBef>
              <a:buFont typeface="Arial" panose="020B0604020202020204" pitchFamily="34" charset="0"/>
              <a:buChar char="•"/>
            </a:pPr>
            <a:r>
              <a:rPr lang="en-US" sz="1400" i="1">
                <a:solidFill>
                  <a:schemeClr val="tx1"/>
                </a:solidFill>
              </a:rPr>
              <a:t>Performance issues when reorganization happen.</a:t>
            </a:r>
          </a:p>
          <a:p>
            <a:pPr marL="285750" indent="-196850">
              <a:spcBef>
                <a:spcPts val="300"/>
              </a:spcBef>
              <a:buFont typeface="Arial" panose="020B0604020202020204" pitchFamily="34" charset="0"/>
              <a:buChar char="•"/>
            </a:pPr>
            <a:r>
              <a:rPr lang="en-US" sz="1400" i="1">
                <a:solidFill>
                  <a:schemeClr val="tx1"/>
                </a:solidFill>
              </a:rPr>
              <a:t>Performance issues for large volumes of business units or teams.</a:t>
            </a:r>
          </a:p>
        </p:txBody>
      </p:sp>
      <p:grpSp>
        <p:nvGrpSpPr>
          <p:cNvPr id="21" name="Group 20">
            <a:extLst>
              <a:ext uri="{FF2B5EF4-FFF2-40B4-BE49-F238E27FC236}">
                <a16:creationId xmlns:a16="http://schemas.microsoft.com/office/drawing/2014/main" id="{CABCF65C-E2F3-4E15-9B5E-0A4DC1E41291}"/>
              </a:ext>
            </a:extLst>
          </p:cNvPr>
          <p:cNvGrpSpPr/>
          <p:nvPr/>
        </p:nvGrpSpPr>
        <p:grpSpPr>
          <a:xfrm>
            <a:off x="446183" y="1276527"/>
            <a:ext cx="326112" cy="326112"/>
            <a:chOff x="115497" y="1864737"/>
            <a:chExt cx="461744" cy="461744"/>
          </a:xfrm>
          <a:solidFill>
            <a:schemeClr val="tx2"/>
          </a:solidFill>
        </p:grpSpPr>
        <p:sp>
          <p:nvSpPr>
            <p:cNvPr id="25" name="Freeform: Shape 24">
              <a:extLst>
                <a:ext uri="{FF2B5EF4-FFF2-40B4-BE49-F238E27FC236}">
                  <a16:creationId xmlns:a16="http://schemas.microsoft.com/office/drawing/2014/main" id="{7C25D6A2-1AC5-4C5E-A77A-61D3F6FE31C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Graphic 77">
              <a:extLst>
                <a:ext uri="{FF2B5EF4-FFF2-40B4-BE49-F238E27FC236}">
                  <a16:creationId xmlns:a16="http://schemas.microsoft.com/office/drawing/2014/main" id="{CBB5F4E7-227B-41A2-8495-CB7799C63317}"/>
                </a:ext>
              </a:extLst>
            </p:cNvPr>
            <p:cNvSpPr/>
            <p:nvPr/>
          </p:nvSpPr>
          <p:spPr>
            <a:xfrm>
              <a:off x="230796" y="2004258"/>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3" name="Rectangle 32">
            <a:extLst>
              <a:ext uri="{FF2B5EF4-FFF2-40B4-BE49-F238E27FC236}">
                <a16:creationId xmlns:a16="http://schemas.microsoft.com/office/drawing/2014/main" id="{4E6833D9-B8E8-4E22-A3C4-9785A26C6D3C}"/>
              </a:ext>
            </a:extLst>
          </p:cNvPr>
          <p:cNvSpPr/>
          <p:nvPr/>
        </p:nvSpPr>
        <p:spPr>
          <a:xfrm>
            <a:off x="6799981" y="1189179"/>
            <a:ext cx="4923802" cy="50243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rPr>
              <a:t>Add details here</a:t>
            </a:r>
            <a:br>
              <a:rPr lang="en-US" sz="1600">
                <a:solidFill>
                  <a:schemeClr val="tx1"/>
                </a:solidFill>
              </a:rPr>
            </a:br>
            <a:br>
              <a:rPr lang="en-US" sz="1600">
                <a:solidFill>
                  <a:schemeClr val="tx1"/>
                </a:solidFill>
              </a:rPr>
            </a:br>
            <a:r>
              <a:rPr lang="en-US" sz="1600">
                <a:solidFill>
                  <a:schemeClr val="tx1"/>
                </a:solidFill>
              </a:rPr>
              <a:t>(See slide notes for additional information)</a:t>
            </a:r>
          </a:p>
        </p:txBody>
      </p:sp>
    </p:spTree>
    <p:extLst>
      <p:ext uri="{BB962C8B-B14F-4D97-AF65-F5344CB8AC3E}">
        <p14:creationId xmlns:p14="http://schemas.microsoft.com/office/powerpoint/2010/main" val="27448089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457200"/>
            <a:ext cx="11018520" cy="553998"/>
          </a:xfrm>
        </p:spPr>
        <p:txBody>
          <a:bodyPr/>
          <a:lstStyle/>
          <a:p>
            <a:r>
              <a:rPr lang="en-US"/>
              <a:t>Identity and authentication</a:t>
            </a:r>
            <a:endParaRPr lang="en-GB"/>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268197"/>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Please describe</a:t>
              </a:r>
              <a:r>
                <a:rPr lang="en-US" sz="1600">
                  <a:solidFill>
                    <a:schemeClr val="tx1"/>
                  </a:solidFill>
                  <a:ea typeface="+mn-lt"/>
                  <a:cs typeface="+mn-lt"/>
                </a:rPr>
                <a:t> the authentication strategy for the solution, including tenant design and planned use of features such as Conditional Access or Multi-factor authentication.</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2074460"/>
            <a:ext cx="11277600" cy="4440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rPr>
              <a:t>Add details here</a:t>
            </a:r>
            <a:br>
              <a:rPr lang="en-US" sz="1600">
                <a:solidFill>
                  <a:schemeClr val="tx1"/>
                </a:solidFill>
              </a:rPr>
            </a:br>
            <a:br>
              <a:rPr lang="en-US" sz="1600">
                <a:solidFill>
                  <a:schemeClr val="tx1"/>
                </a:solidFill>
              </a:rPr>
            </a:br>
            <a:r>
              <a:rPr lang="en-US" sz="1600">
                <a:solidFill>
                  <a:schemeClr val="tx1"/>
                </a:solidFill>
              </a:rPr>
              <a:t>(See slide notes for additional information)</a:t>
            </a:r>
          </a:p>
        </p:txBody>
      </p:sp>
    </p:spTree>
    <p:extLst>
      <p:ext uri="{BB962C8B-B14F-4D97-AF65-F5344CB8AC3E}">
        <p14:creationId xmlns:p14="http://schemas.microsoft.com/office/powerpoint/2010/main" val="9946219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457200"/>
            <a:ext cx="11018520" cy="553998"/>
          </a:xfrm>
        </p:spPr>
        <p:txBody>
          <a:bodyPr/>
          <a:lstStyle/>
          <a:p>
            <a:r>
              <a:rPr lang="en-US"/>
              <a:t>Integration</a:t>
            </a:r>
            <a:endParaRPr lang="en-GB"/>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268197"/>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Please describe your plans for addressing security needs in the context of additional applications. </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2074460"/>
            <a:ext cx="11277600" cy="4440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rPr>
              <a:t>Considerations for additional applications may include:</a:t>
            </a:r>
          </a:p>
          <a:p>
            <a:pPr algn="ctr"/>
            <a:endParaRPr lang="en-US" sz="1600">
              <a:solidFill>
                <a:schemeClr val="tx1"/>
              </a:solidFill>
            </a:endParaRPr>
          </a:p>
          <a:p>
            <a:pPr algn="ctr"/>
            <a:r>
              <a:rPr lang="en-US" sz="1600">
                <a:solidFill>
                  <a:schemeClr val="tx1"/>
                </a:solidFill>
              </a:rPr>
              <a:t>Have you considered how security should be approached when using virtual entities?</a:t>
            </a:r>
          </a:p>
          <a:p>
            <a:pPr algn="ctr"/>
            <a:endParaRPr lang="en-US" sz="1600">
              <a:solidFill>
                <a:schemeClr val="tx1"/>
              </a:solidFill>
            </a:endParaRPr>
          </a:p>
          <a:p>
            <a:pPr algn="ctr"/>
            <a:r>
              <a:rPr lang="en-US" sz="1600">
                <a:solidFill>
                  <a:schemeClr val="tx1"/>
                </a:solidFill>
              </a:rPr>
              <a:t>How are you planning to control security in data export service, Azure SQL, Export to Data Lake, Power BI, etc.?</a:t>
            </a:r>
          </a:p>
          <a:p>
            <a:pPr algn="ctr"/>
            <a:endParaRPr lang="en-US" sz="1600">
              <a:solidFill>
                <a:schemeClr val="tx1"/>
              </a:solidFill>
            </a:endParaRPr>
          </a:p>
          <a:p>
            <a:pPr algn="ctr"/>
            <a:r>
              <a:rPr lang="en-US" sz="1600">
                <a:solidFill>
                  <a:schemeClr val="tx1"/>
                </a:solidFill>
              </a:rPr>
              <a:t>Are you leveraging PowerApps and Power Automate? What are your security requirements and design for these apps?</a:t>
            </a:r>
          </a:p>
        </p:txBody>
      </p:sp>
      <p:sp>
        <p:nvSpPr>
          <p:cNvPr id="17" name="Rectangle 16">
            <a:extLst>
              <a:ext uri="{FF2B5EF4-FFF2-40B4-BE49-F238E27FC236}">
                <a16:creationId xmlns:a16="http://schemas.microsoft.com/office/drawing/2014/main" id="{AAD0D11D-7268-45AF-B13E-BA33C4F11E35}"/>
              </a:ext>
            </a:extLst>
          </p:cNvPr>
          <p:cNvSpPr/>
          <p:nvPr/>
        </p:nvSpPr>
        <p:spPr>
          <a:xfrm>
            <a:off x="457200" y="2076926"/>
            <a:ext cx="11277600" cy="4440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rPr>
              <a:t>Add details here</a:t>
            </a:r>
            <a:br>
              <a:rPr lang="en-US" sz="1600">
                <a:solidFill>
                  <a:schemeClr val="tx1"/>
                </a:solidFill>
              </a:rPr>
            </a:br>
            <a:br>
              <a:rPr lang="en-US" sz="1600">
                <a:solidFill>
                  <a:schemeClr val="tx1"/>
                </a:solidFill>
              </a:rPr>
            </a:br>
            <a:r>
              <a:rPr lang="en-US" sz="1600">
                <a:solidFill>
                  <a:schemeClr val="tx1"/>
                </a:solidFill>
              </a:rPr>
              <a:t>(See slide notes for additional information)</a:t>
            </a:r>
          </a:p>
        </p:txBody>
      </p:sp>
    </p:spTree>
    <p:extLst>
      <p:ext uri="{BB962C8B-B14F-4D97-AF65-F5344CB8AC3E}">
        <p14:creationId xmlns:p14="http://schemas.microsoft.com/office/powerpoint/2010/main" val="17418176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7CEE9F69-5E1D-4C56-9465-C7C0BC28B0DB}"/>
              </a:ext>
            </a:extLst>
          </p:cNvPr>
          <p:cNvSpPr txBox="1">
            <a:spLocks noGrp="1"/>
          </p:cNvSpPr>
          <p:nvPr>
            <p:ph type="title" idx="4294967295"/>
          </p:nvPr>
        </p:nvSpPr>
        <p:spPr>
          <a:xfrm>
            <a:off x="585216" y="2651888"/>
            <a:ext cx="11206734" cy="1554224"/>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50" normalizeH="0" baseline="0" noProof="0">
                <a:ln w="3175">
                  <a:noFill/>
                </a:ln>
                <a:solidFill>
                  <a:schemeClr val="tx1"/>
                </a:solidFill>
                <a:effectLst/>
                <a:uLnTx/>
                <a:uFillTx/>
                <a:latin typeface="+mj-lt"/>
                <a:ea typeface="+mn-ea"/>
                <a:cs typeface="Segoe UI"/>
              </a:rPr>
              <a:t>Security strategy </a:t>
            </a:r>
            <a:br>
              <a:rPr kumimoji="0" lang="en-US" sz="4400" b="0" i="0" u="none" strike="noStrike" kern="1200" cap="none" spc="-50" normalizeH="0" baseline="0" noProof="0">
                <a:ln w="3175">
                  <a:noFill/>
                </a:ln>
                <a:solidFill>
                  <a:srgbClr val="4CCBED"/>
                </a:solidFill>
                <a:effectLst/>
                <a:uLnTx/>
                <a:uFillTx/>
                <a:latin typeface="+mj-lt"/>
                <a:ea typeface="+mn-ea"/>
                <a:cs typeface="Segoe UI"/>
              </a:rPr>
            </a:br>
            <a:r>
              <a:rPr kumimoji="0" lang="en-US" sz="4400" b="0" i="0" u="none" strike="noStrike" kern="1200" cap="none" spc="-50" normalizeH="0" baseline="0" noProof="0">
                <a:ln w="3175">
                  <a:noFill/>
                </a:ln>
                <a:solidFill>
                  <a:srgbClr val="4CCBED"/>
                </a:solidFill>
                <a:effectLst/>
                <a:uLnTx/>
                <a:uFillTx/>
                <a:latin typeface="+mj-lt"/>
                <a:ea typeface="+mn-ea"/>
                <a:cs typeface="Segoe UI"/>
              </a:rPr>
              <a:t>Testing</a:t>
            </a:r>
          </a:p>
        </p:txBody>
      </p:sp>
    </p:spTree>
    <p:extLst>
      <p:ext uri="{BB962C8B-B14F-4D97-AF65-F5344CB8AC3E}">
        <p14:creationId xmlns:p14="http://schemas.microsoft.com/office/powerpoint/2010/main" val="39369938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457200"/>
            <a:ext cx="11018520" cy="553998"/>
          </a:xfrm>
        </p:spPr>
        <p:txBody>
          <a:bodyPr/>
          <a:lstStyle/>
          <a:p>
            <a:r>
              <a:rPr lang="en-US"/>
              <a:t>Security testing</a:t>
            </a:r>
          </a:p>
        </p:txBody>
      </p:sp>
      <p:sp>
        <p:nvSpPr>
          <p:cNvPr id="20" name="Rectangle 19">
            <a:extLst>
              <a:ext uri="{FF2B5EF4-FFF2-40B4-BE49-F238E27FC236}">
                <a16:creationId xmlns:a16="http://schemas.microsoft.com/office/drawing/2014/main" id="{8993611A-AF72-44E5-BB38-BEB9A5F83D66}"/>
              </a:ext>
            </a:extLst>
          </p:cNvPr>
          <p:cNvSpPr/>
          <p:nvPr/>
        </p:nvSpPr>
        <p:spPr>
          <a:xfrm>
            <a:off x="878111" y="1189176"/>
            <a:ext cx="5921870" cy="23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spcBef>
                <a:spcPts val="600"/>
              </a:spcBef>
            </a:pPr>
            <a:r>
              <a:rPr lang="en-US" sz="1600">
                <a:solidFill>
                  <a:schemeClr val="tx1"/>
                </a:solidFill>
              </a:rPr>
              <a:t>How do you plan to run your security tests?</a:t>
            </a:r>
          </a:p>
          <a:p>
            <a:pPr>
              <a:spcBef>
                <a:spcPts val="600"/>
              </a:spcBef>
            </a:pPr>
            <a:endParaRPr lang="en-US" sz="1600" i="1">
              <a:solidFill>
                <a:schemeClr val="tx1"/>
              </a:solidFill>
            </a:endParaRPr>
          </a:p>
          <a:p>
            <a:pPr>
              <a:spcBef>
                <a:spcPts val="600"/>
              </a:spcBef>
            </a:pPr>
            <a:r>
              <a:rPr lang="en-US" sz="1400" i="1">
                <a:solidFill>
                  <a:schemeClr val="tx1"/>
                </a:solidFill>
              </a:rPr>
              <a:t>Security testing generally involves:</a:t>
            </a:r>
          </a:p>
          <a:p>
            <a:pPr marL="285750" indent="-196850">
              <a:spcBef>
                <a:spcPts val="300"/>
              </a:spcBef>
              <a:buFont typeface="Arial" panose="020B0604020202020204" pitchFamily="34" charset="0"/>
              <a:buChar char="•"/>
            </a:pPr>
            <a:r>
              <a:rPr lang="en-US" sz="1400" i="1">
                <a:solidFill>
                  <a:schemeClr val="tx1"/>
                </a:solidFill>
              </a:rPr>
              <a:t>Test environments, users and data.</a:t>
            </a:r>
          </a:p>
          <a:p>
            <a:pPr marL="285750" indent="-196850">
              <a:spcBef>
                <a:spcPts val="300"/>
              </a:spcBef>
              <a:buFont typeface="Arial" panose="020B0604020202020204" pitchFamily="34" charset="0"/>
              <a:buChar char="•"/>
            </a:pPr>
            <a:r>
              <a:rPr lang="en-US" sz="1400" i="1">
                <a:solidFill>
                  <a:schemeClr val="tx1"/>
                </a:solidFill>
              </a:rPr>
              <a:t>Test cases for the different roles and potential configurations.</a:t>
            </a:r>
          </a:p>
          <a:p>
            <a:pPr marL="285750" indent="-196850">
              <a:spcBef>
                <a:spcPts val="300"/>
              </a:spcBef>
              <a:buFont typeface="Arial" panose="020B0604020202020204" pitchFamily="34" charset="0"/>
              <a:buChar char="•"/>
            </a:pPr>
            <a:r>
              <a:rPr lang="en-US" sz="1400" i="1">
                <a:solidFill>
                  <a:schemeClr val="tx1"/>
                </a:solidFill>
              </a:rPr>
              <a:t>Negative testing on records and field-level security.</a:t>
            </a:r>
          </a:p>
          <a:p>
            <a:pPr marL="285750" indent="-196850">
              <a:spcBef>
                <a:spcPts val="300"/>
              </a:spcBef>
              <a:buFont typeface="Arial" panose="020B0604020202020204" pitchFamily="34" charset="0"/>
              <a:buChar char="•"/>
            </a:pPr>
            <a:r>
              <a:rPr lang="en-US" sz="1400" i="1">
                <a:solidFill>
                  <a:schemeClr val="tx1"/>
                </a:solidFill>
              </a:rPr>
              <a:t>Test tooling, etc.</a:t>
            </a:r>
          </a:p>
          <a:p>
            <a:pPr marL="285750" indent="-196850">
              <a:spcBef>
                <a:spcPts val="300"/>
              </a:spcBef>
              <a:buFont typeface="Arial" panose="020B0604020202020204" pitchFamily="34" charset="0"/>
              <a:buChar char="•"/>
            </a:pPr>
            <a:endParaRPr lang="en-US" sz="1400" i="1">
              <a:solidFill>
                <a:schemeClr val="tx1"/>
              </a:solidFill>
            </a:endParaRPr>
          </a:p>
          <a:p>
            <a:pPr>
              <a:spcBef>
                <a:spcPts val="600"/>
              </a:spcBef>
            </a:pPr>
            <a:endParaRPr lang="en-US" sz="1400" i="1">
              <a:solidFill>
                <a:schemeClr val="tx1"/>
              </a:solidFill>
            </a:endParaRPr>
          </a:p>
        </p:txBody>
      </p:sp>
      <p:grpSp>
        <p:nvGrpSpPr>
          <p:cNvPr id="21" name="Group 20">
            <a:extLst>
              <a:ext uri="{FF2B5EF4-FFF2-40B4-BE49-F238E27FC236}">
                <a16:creationId xmlns:a16="http://schemas.microsoft.com/office/drawing/2014/main" id="{CABCF65C-E2F3-4E15-9B5E-0A4DC1E41291}"/>
              </a:ext>
            </a:extLst>
          </p:cNvPr>
          <p:cNvGrpSpPr/>
          <p:nvPr/>
        </p:nvGrpSpPr>
        <p:grpSpPr>
          <a:xfrm>
            <a:off x="456574" y="1276527"/>
            <a:ext cx="326112" cy="326112"/>
            <a:chOff x="115497" y="1864737"/>
            <a:chExt cx="461744" cy="461744"/>
          </a:xfrm>
          <a:solidFill>
            <a:schemeClr val="tx2"/>
          </a:solidFill>
        </p:grpSpPr>
        <p:sp>
          <p:nvSpPr>
            <p:cNvPr id="25" name="Freeform: Shape 24">
              <a:extLst>
                <a:ext uri="{FF2B5EF4-FFF2-40B4-BE49-F238E27FC236}">
                  <a16:creationId xmlns:a16="http://schemas.microsoft.com/office/drawing/2014/main" id="{7C25D6A2-1AC5-4C5E-A77A-61D3F6FE31C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Graphic 77">
              <a:extLst>
                <a:ext uri="{FF2B5EF4-FFF2-40B4-BE49-F238E27FC236}">
                  <a16:creationId xmlns:a16="http://schemas.microsoft.com/office/drawing/2014/main" id="{CBB5F4E7-227B-41A2-8495-CB7799C63317}"/>
                </a:ext>
              </a:extLst>
            </p:cNvPr>
            <p:cNvSpPr/>
            <p:nvPr/>
          </p:nvSpPr>
          <p:spPr>
            <a:xfrm>
              <a:off x="230796" y="2004258"/>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3" name="Rectangle 32">
            <a:extLst>
              <a:ext uri="{FF2B5EF4-FFF2-40B4-BE49-F238E27FC236}">
                <a16:creationId xmlns:a16="http://schemas.microsoft.com/office/drawing/2014/main" id="{4E6833D9-B8E8-4E22-A3C4-9785A26C6D3C}"/>
              </a:ext>
            </a:extLst>
          </p:cNvPr>
          <p:cNvSpPr/>
          <p:nvPr/>
        </p:nvSpPr>
        <p:spPr>
          <a:xfrm>
            <a:off x="6799981" y="1189176"/>
            <a:ext cx="4923802" cy="23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rPr>
              <a:t>Add details here</a:t>
            </a:r>
            <a:br>
              <a:rPr lang="en-US" sz="1600">
                <a:solidFill>
                  <a:schemeClr val="tx1"/>
                </a:solidFill>
              </a:rPr>
            </a:br>
            <a:br>
              <a:rPr lang="en-US" sz="1600">
                <a:solidFill>
                  <a:schemeClr val="tx1"/>
                </a:solidFill>
              </a:rPr>
            </a:br>
            <a:r>
              <a:rPr lang="en-US" sz="1600">
                <a:solidFill>
                  <a:schemeClr val="tx1"/>
                </a:solidFill>
              </a:rPr>
              <a:t>(See slide notes for additional information)</a:t>
            </a:r>
          </a:p>
        </p:txBody>
      </p:sp>
      <p:sp>
        <p:nvSpPr>
          <p:cNvPr id="14" name="Rectangle 13">
            <a:extLst>
              <a:ext uri="{FF2B5EF4-FFF2-40B4-BE49-F238E27FC236}">
                <a16:creationId xmlns:a16="http://schemas.microsoft.com/office/drawing/2014/main" id="{EA8CC3DD-14C4-4EA0-8823-0A8FF631C7A4}"/>
              </a:ext>
            </a:extLst>
          </p:cNvPr>
          <p:cNvSpPr/>
          <p:nvPr/>
        </p:nvSpPr>
        <p:spPr>
          <a:xfrm>
            <a:off x="6799981" y="3763176"/>
            <a:ext cx="4923802" cy="23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rPr>
              <a:t>Add details here</a:t>
            </a:r>
            <a:br>
              <a:rPr lang="en-US" sz="1600">
                <a:solidFill>
                  <a:schemeClr val="tx1"/>
                </a:solidFill>
              </a:rPr>
            </a:br>
            <a:br>
              <a:rPr lang="en-US" sz="1600">
                <a:solidFill>
                  <a:schemeClr val="tx1"/>
                </a:solidFill>
              </a:rPr>
            </a:br>
            <a:r>
              <a:rPr lang="en-US" sz="1600">
                <a:solidFill>
                  <a:schemeClr val="tx1"/>
                </a:solidFill>
              </a:rPr>
              <a:t>(See slide notes for additional information)</a:t>
            </a:r>
          </a:p>
          <a:p>
            <a:pPr algn="ctr"/>
            <a:endParaRPr lang="en-US" sz="1600">
              <a:solidFill>
                <a:schemeClr val="tx1"/>
              </a:solidFill>
            </a:endParaRPr>
          </a:p>
        </p:txBody>
      </p:sp>
      <p:sp>
        <p:nvSpPr>
          <p:cNvPr id="27" name="Rectangle 26">
            <a:extLst>
              <a:ext uri="{FF2B5EF4-FFF2-40B4-BE49-F238E27FC236}">
                <a16:creationId xmlns:a16="http://schemas.microsoft.com/office/drawing/2014/main" id="{0AA7E48F-B090-4E86-A026-DBC3AECB9CDF}"/>
              </a:ext>
            </a:extLst>
          </p:cNvPr>
          <p:cNvSpPr/>
          <p:nvPr/>
        </p:nvSpPr>
        <p:spPr>
          <a:xfrm>
            <a:off x="878111" y="3763175"/>
            <a:ext cx="5921870" cy="2339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sz="1600">
                <a:solidFill>
                  <a:schemeClr val="tx1"/>
                </a:solidFill>
              </a:rPr>
              <a:t>Do you plan to do penetration tests on the platform?</a:t>
            </a:r>
          </a:p>
          <a:p>
            <a:endParaRPr lang="en-US" sz="1600">
              <a:solidFill>
                <a:schemeClr val="tx1"/>
              </a:solidFill>
            </a:endParaRPr>
          </a:p>
          <a:p>
            <a:pPr>
              <a:spcBef>
                <a:spcPts val="600"/>
              </a:spcBef>
            </a:pPr>
            <a:r>
              <a:rPr lang="en-US" sz="1400" i="1">
                <a:solidFill>
                  <a:schemeClr val="tx1"/>
                </a:solidFill>
              </a:rPr>
              <a:t>All penetration tests must follow the Microsoft Cloud Penetration </a:t>
            </a:r>
            <a:br>
              <a:rPr lang="en-US" sz="1400" i="1">
                <a:solidFill>
                  <a:schemeClr val="tx1"/>
                </a:solidFill>
              </a:rPr>
            </a:br>
            <a:r>
              <a:rPr lang="en-US" sz="1400" i="1">
                <a:solidFill>
                  <a:schemeClr val="tx1"/>
                </a:solidFill>
              </a:rPr>
              <a:t>Testing Rules of Engagement</a:t>
            </a:r>
          </a:p>
        </p:txBody>
      </p:sp>
      <p:grpSp>
        <p:nvGrpSpPr>
          <p:cNvPr id="28" name="Group 27">
            <a:extLst>
              <a:ext uri="{FF2B5EF4-FFF2-40B4-BE49-F238E27FC236}">
                <a16:creationId xmlns:a16="http://schemas.microsoft.com/office/drawing/2014/main" id="{2546D9D7-5CD0-4FAA-BB8B-2742ADD67F31}"/>
              </a:ext>
            </a:extLst>
          </p:cNvPr>
          <p:cNvGrpSpPr/>
          <p:nvPr/>
        </p:nvGrpSpPr>
        <p:grpSpPr>
          <a:xfrm>
            <a:off x="456574" y="3844262"/>
            <a:ext cx="326112" cy="326112"/>
            <a:chOff x="115497" y="1864737"/>
            <a:chExt cx="461744" cy="461744"/>
          </a:xfrm>
          <a:solidFill>
            <a:schemeClr val="tx2"/>
          </a:solidFill>
        </p:grpSpPr>
        <p:sp>
          <p:nvSpPr>
            <p:cNvPr id="29" name="Freeform: Shape 28">
              <a:extLst>
                <a:ext uri="{FF2B5EF4-FFF2-40B4-BE49-F238E27FC236}">
                  <a16:creationId xmlns:a16="http://schemas.microsoft.com/office/drawing/2014/main" id="{C9C23C12-B1EE-44B7-8D8B-3C67812D6E6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0" name="Graphic 77">
              <a:extLst>
                <a:ext uri="{FF2B5EF4-FFF2-40B4-BE49-F238E27FC236}">
                  <a16:creationId xmlns:a16="http://schemas.microsoft.com/office/drawing/2014/main" id="{D1E48521-9D97-4DB7-9EFC-731BA3F5AECD}"/>
                </a:ext>
              </a:extLst>
            </p:cNvPr>
            <p:cNvSpPr/>
            <p:nvPr/>
          </p:nvSpPr>
          <p:spPr>
            <a:xfrm>
              <a:off x="230796" y="2004258"/>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6" name="Straight Connector 5">
            <a:extLst>
              <a:ext uri="{FF2B5EF4-FFF2-40B4-BE49-F238E27FC236}">
                <a16:creationId xmlns:a16="http://schemas.microsoft.com/office/drawing/2014/main" id="{4D016205-6111-49FF-80E1-EFA725F24C94}"/>
              </a:ext>
            </a:extLst>
          </p:cNvPr>
          <p:cNvCxnSpPr>
            <a:cxnSpLocks/>
          </p:cNvCxnSpPr>
          <p:nvPr/>
        </p:nvCxnSpPr>
        <p:spPr>
          <a:xfrm>
            <a:off x="457200" y="3635419"/>
            <a:ext cx="11277600" cy="0"/>
          </a:xfrm>
          <a:prstGeom prst="line">
            <a:avLst/>
          </a:prstGeom>
          <a:noFill/>
          <a:ln w="3175">
            <a:solidFill>
              <a:schemeClr val="bg1">
                <a:lumMod val="75000"/>
              </a:schemeClr>
            </a:solidFill>
            <a:prstDash val="dash"/>
          </a:ln>
        </p:spPr>
      </p:cxnSp>
    </p:spTree>
    <p:extLst>
      <p:ext uri="{BB962C8B-B14F-4D97-AF65-F5344CB8AC3E}">
        <p14:creationId xmlns:p14="http://schemas.microsoft.com/office/powerpoint/2010/main" val="23926761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457200"/>
            <a:ext cx="11018520" cy="553998"/>
          </a:xfrm>
        </p:spPr>
        <p:txBody>
          <a:bodyPr/>
          <a:lstStyle/>
          <a:p>
            <a:r>
              <a:rPr lang="en-US" sz="3600">
                <a:cs typeface="Segoe UI"/>
              </a:rPr>
              <a:t>Security </a:t>
            </a:r>
            <a:r>
              <a:rPr lang="en-US">
                <a:cs typeface="Segoe UI"/>
              </a:rPr>
              <a:t>strategy</a:t>
            </a:r>
            <a:r>
              <a:rPr lang="en-US" sz="3600">
                <a:latin typeface="Segoe UI Semibold"/>
                <a:cs typeface="Segoe UI"/>
              </a:rPr>
              <a:t> </a:t>
            </a:r>
            <a:r>
              <a:rPr lang="en-US">
                <a:cs typeface="Segoe UI"/>
              </a:rPr>
              <a:t>workshop agenda</a:t>
            </a:r>
          </a:p>
        </p:txBody>
      </p:sp>
      <p:sp>
        <p:nvSpPr>
          <p:cNvPr id="40" name="Rectangle 39">
            <a:extLst>
              <a:ext uri="{FF2B5EF4-FFF2-40B4-BE49-F238E27FC236}">
                <a16:creationId xmlns:a16="http://schemas.microsoft.com/office/drawing/2014/main" id="{8550DF09-0D7B-4F8E-8ACF-13567A221AF3}"/>
              </a:ext>
            </a:extLst>
          </p:cNvPr>
          <p:cNvSpPr/>
          <p:nvPr/>
        </p:nvSpPr>
        <p:spPr>
          <a:xfrm>
            <a:off x="1500052" y="1374543"/>
            <a:ext cx="10286285" cy="4750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27" rIns="182880" rtlCol="0" anchor="t" anchorCtr="0"/>
          <a:lstStyle/>
          <a:p>
            <a:pPr lvl="0" defTabSz="914225"/>
            <a:r>
              <a:rPr lang="en-US" sz="2000">
                <a:ln w="3175">
                  <a:noFill/>
                </a:ln>
                <a:solidFill>
                  <a:schemeClr val="accent2"/>
                </a:solidFill>
                <a:latin typeface="Segoe UI Semibold"/>
                <a:cs typeface="Segoe UI" pitchFamily="34" charset="0"/>
              </a:rPr>
              <a:t>Agenda</a:t>
            </a:r>
          </a:p>
        </p:txBody>
      </p:sp>
      <p:sp>
        <p:nvSpPr>
          <p:cNvPr id="42" name="Rectangle: Rounded Corners 14">
            <a:extLst>
              <a:ext uri="{FF2B5EF4-FFF2-40B4-BE49-F238E27FC236}">
                <a16:creationId xmlns:a16="http://schemas.microsoft.com/office/drawing/2014/main" id="{FCCFC8E7-228A-485F-B89E-E8B4B03CC681}"/>
              </a:ext>
            </a:extLst>
          </p:cNvPr>
          <p:cNvSpPr/>
          <p:nvPr/>
        </p:nvSpPr>
        <p:spPr bwMode="auto">
          <a:xfrm>
            <a:off x="405657" y="176206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5906ADDC-D360-4A0F-91FF-B494A9B96AC6}"/>
              </a:ext>
            </a:extLst>
          </p:cNvPr>
          <p:cNvCxnSpPr>
            <a:cxnSpLocks/>
          </p:cNvCxnSpPr>
          <p:nvPr/>
        </p:nvCxnSpPr>
        <p:spPr>
          <a:xfrm>
            <a:off x="1494318" y="1349375"/>
            <a:ext cx="0" cy="494513"/>
          </a:xfrm>
          <a:prstGeom prst="line">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a:extLst>
              <a:ext uri="{FF2B5EF4-FFF2-40B4-BE49-F238E27FC236}">
                <a16:creationId xmlns:a16="http://schemas.microsoft.com/office/drawing/2014/main" id="{4A8E8564-839D-4D78-B946-D71D10D7FB42}"/>
              </a:ext>
            </a:extLst>
          </p:cNvPr>
          <p:cNvCxnSpPr>
            <a:cxnSpLocks/>
          </p:cNvCxnSpPr>
          <p:nvPr/>
        </p:nvCxnSpPr>
        <p:spPr>
          <a:xfrm flipV="1">
            <a:off x="1" y="1843888"/>
            <a:ext cx="11786336" cy="14287"/>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B913BBF-6FE9-4291-9E49-F6769461052B}"/>
              </a:ext>
            </a:extLst>
          </p:cNvPr>
          <p:cNvCxnSpPr>
            <a:cxnSpLocks/>
          </p:cNvCxnSpPr>
          <p:nvPr/>
        </p:nvCxnSpPr>
        <p:spPr>
          <a:xfrm>
            <a:off x="457200" y="2451213"/>
            <a:ext cx="5664073" cy="0"/>
          </a:xfrm>
          <a:prstGeom prst="line">
            <a:avLst/>
          </a:prstGeom>
          <a:noFill/>
          <a:ln w="3175">
            <a:solidFill>
              <a:schemeClr val="bg1">
                <a:lumMod val="85000"/>
              </a:schemeClr>
            </a:solidFill>
            <a:prstDash val="dash"/>
          </a:ln>
        </p:spPr>
      </p:cxnSp>
      <p:cxnSp>
        <p:nvCxnSpPr>
          <p:cNvPr id="48" name="Straight Connector 47">
            <a:extLst>
              <a:ext uri="{FF2B5EF4-FFF2-40B4-BE49-F238E27FC236}">
                <a16:creationId xmlns:a16="http://schemas.microsoft.com/office/drawing/2014/main" id="{7354E8F2-26A2-4CCA-89B8-65B9B53DA07B}"/>
              </a:ext>
            </a:extLst>
          </p:cNvPr>
          <p:cNvCxnSpPr>
            <a:cxnSpLocks/>
          </p:cNvCxnSpPr>
          <p:nvPr/>
        </p:nvCxnSpPr>
        <p:spPr>
          <a:xfrm>
            <a:off x="457200" y="3007163"/>
            <a:ext cx="5664073" cy="0"/>
          </a:xfrm>
          <a:prstGeom prst="line">
            <a:avLst/>
          </a:prstGeom>
          <a:noFill/>
          <a:ln w="3175">
            <a:solidFill>
              <a:schemeClr val="bg1">
                <a:lumMod val="85000"/>
              </a:schemeClr>
            </a:solidFill>
            <a:prstDash val="dash"/>
          </a:ln>
        </p:spPr>
      </p:cxnSp>
      <p:cxnSp>
        <p:nvCxnSpPr>
          <p:cNvPr id="52" name="Straight Connector 51">
            <a:extLst>
              <a:ext uri="{FF2B5EF4-FFF2-40B4-BE49-F238E27FC236}">
                <a16:creationId xmlns:a16="http://schemas.microsoft.com/office/drawing/2014/main" id="{721FE680-81D2-484D-B86E-D8BCF74079FD}"/>
              </a:ext>
            </a:extLst>
          </p:cNvPr>
          <p:cNvCxnSpPr>
            <a:cxnSpLocks/>
          </p:cNvCxnSpPr>
          <p:nvPr/>
        </p:nvCxnSpPr>
        <p:spPr>
          <a:xfrm>
            <a:off x="457200" y="3634158"/>
            <a:ext cx="5664073" cy="0"/>
          </a:xfrm>
          <a:prstGeom prst="line">
            <a:avLst/>
          </a:prstGeom>
          <a:noFill/>
          <a:ln w="3175">
            <a:solidFill>
              <a:schemeClr val="bg1">
                <a:lumMod val="85000"/>
              </a:schemeClr>
            </a:solidFill>
            <a:prstDash val="dash"/>
          </a:ln>
        </p:spPr>
      </p:cxnSp>
      <p:cxnSp>
        <p:nvCxnSpPr>
          <p:cNvPr id="53" name="Straight Connector 52">
            <a:extLst>
              <a:ext uri="{FF2B5EF4-FFF2-40B4-BE49-F238E27FC236}">
                <a16:creationId xmlns:a16="http://schemas.microsoft.com/office/drawing/2014/main" id="{76FF7EC1-B2EB-4DC5-B055-C580BB6B5166}"/>
              </a:ext>
            </a:extLst>
          </p:cNvPr>
          <p:cNvCxnSpPr>
            <a:cxnSpLocks/>
          </p:cNvCxnSpPr>
          <p:nvPr/>
        </p:nvCxnSpPr>
        <p:spPr>
          <a:xfrm>
            <a:off x="457200" y="4223672"/>
            <a:ext cx="5664073" cy="0"/>
          </a:xfrm>
          <a:prstGeom prst="line">
            <a:avLst/>
          </a:prstGeom>
          <a:noFill/>
          <a:ln w="3175">
            <a:solidFill>
              <a:schemeClr val="bg1">
                <a:lumMod val="85000"/>
              </a:schemeClr>
            </a:solidFill>
            <a:prstDash val="dash"/>
          </a:ln>
        </p:spPr>
      </p:cxnSp>
      <p:grpSp>
        <p:nvGrpSpPr>
          <p:cNvPr id="54" name="Group 53">
            <a:extLst>
              <a:ext uri="{FF2B5EF4-FFF2-40B4-BE49-F238E27FC236}">
                <a16:creationId xmlns:a16="http://schemas.microsoft.com/office/drawing/2014/main" id="{E3151547-6629-4A30-85D7-9026BFEC7DB1}"/>
              </a:ext>
            </a:extLst>
          </p:cNvPr>
          <p:cNvGrpSpPr/>
          <p:nvPr/>
        </p:nvGrpSpPr>
        <p:grpSpPr>
          <a:xfrm>
            <a:off x="506805" y="1895263"/>
            <a:ext cx="5613527" cy="522386"/>
            <a:chOff x="506805" y="1895263"/>
            <a:chExt cx="5613527" cy="522386"/>
          </a:xfrm>
        </p:grpSpPr>
        <p:sp>
          <p:nvSpPr>
            <p:cNvPr id="55" name="Rectangle 54">
              <a:extLst>
                <a:ext uri="{FF2B5EF4-FFF2-40B4-BE49-F238E27FC236}">
                  <a16:creationId xmlns:a16="http://schemas.microsoft.com/office/drawing/2014/main" id="{D909AFD3-772D-428E-8735-D3CC0F3F9928}"/>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pPr lvl="0" rtl="0"/>
              <a:r>
                <a:rPr lang="en-US" sz="1600">
                  <a:solidFill>
                    <a:schemeClr val="tx1"/>
                  </a:solidFill>
                </a:rPr>
                <a:t>Overview &amp; workstream</a:t>
              </a:r>
              <a:endParaRPr lang="en-US" sz="1600">
                <a:solidFill>
                  <a:schemeClr val="tx1"/>
                </a:solidFill>
                <a:cs typeface="Segoe UI"/>
              </a:endParaRPr>
            </a:p>
          </p:txBody>
        </p:sp>
        <p:grpSp>
          <p:nvGrpSpPr>
            <p:cNvPr id="56" name="Group 55">
              <a:extLst>
                <a:ext uri="{FF2B5EF4-FFF2-40B4-BE49-F238E27FC236}">
                  <a16:creationId xmlns:a16="http://schemas.microsoft.com/office/drawing/2014/main" id="{343C8747-F64E-4A18-A94A-9D3F8224370C}"/>
                </a:ext>
              </a:extLst>
            </p:cNvPr>
            <p:cNvGrpSpPr/>
            <p:nvPr/>
          </p:nvGrpSpPr>
          <p:grpSpPr>
            <a:xfrm>
              <a:off x="730757" y="1993400"/>
              <a:ext cx="326112" cy="326112"/>
              <a:chOff x="115497" y="1864737"/>
              <a:chExt cx="461744" cy="461744"/>
            </a:xfrm>
            <a:solidFill>
              <a:schemeClr val="tx2"/>
            </a:solidFill>
          </p:grpSpPr>
          <p:sp>
            <p:nvSpPr>
              <p:cNvPr id="57" name="Freeform: Shape 56">
                <a:extLst>
                  <a:ext uri="{FF2B5EF4-FFF2-40B4-BE49-F238E27FC236}">
                    <a16:creationId xmlns:a16="http://schemas.microsoft.com/office/drawing/2014/main" id="{9A72F8EA-291F-4570-84D1-25DC141B48F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8" name="Graphic 77">
                <a:extLst>
                  <a:ext uri="{FF2B5EF4-FFF2-40B4-BE49-F238E27FC236}">
                    <a16:creationId xmlns:a16="http://schemas.microsoft.com/office/drawing/2014/main" id="{9A88097F-834B-41ED-84A6-F60654AB22D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64" name="Group 63">
            <a:extLst>
              <a:ext uri="{FF2B5EF4-FFF2-40B4-BE49-F238E27FC236}">
                <a16:creationId xmlns:a16="http://schemas.microsoft.com/office/drawing/2014/main" id="{C25BF092-9D17-40D4-AEA1-85E84CD38EE6}"/>
              </a:ext>
            </a:extLst>
          </p:cNvPr>
          <p:cNvGrpSpPr/>
          <p:nvPr/>
        </p:nvGrpSpPr>
        <p:grpSpPr>
          <a:xfrm>
            <a:off x="506805" y="2451213"/>
            <a:ext cx="5613527" cy="522386"/>
            <a:chOff x="506805" y="3065963"/>
            <a:chExt cx="5613527" cy="522386"/>
          </a:xfrm>
        </p:grpSpPr>
        <p:sp>
          <p:nvSpPr>
            <p:cNvPr id="65" name="Rectangle 64">
              <a:extLst>
                <a:ext uri="{FF2B5EF4-FFF2-40B4-BE49-F238E27FC236}">
                  <a16:creationId xmlns:a16="http://schemas.microsoft.com/office/drawing/2014/main" id="{54341627-CD8C-4D9B-8381-28743BCFFBF1}"/>
                </a:ext>
              </a:extLst>
            </p:cNvPr>
            <p:cNvSpPr/>
            <p:nvPr/>
          </p:nvSpPr>
          <p:spPr>
            <a:xfrm>
              <a:off x="506805" y="30659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pPr lvl="0" rtl="0"/>
              <a:r>
                <a:rPr lang="en-US" sz="1600">
                  <a:solidFill>
                    <a:schemeClr val="tx1"/>
                  </a:solidFill>
                </a:rPr>
                <a:t>Regulation, compliance, and other requirements</a:t>
              </a:r>
            </a:p>
          </p:txBody>
        </p:sp>
        <p:grpSp>
          <p:nvGrpSpPr>
            <p:cNvPr id="66" name="Group 65">
              <a:extLst>
                <a:ext uri="{FF2B5EF4-FFF2-40B4-BE49-F238E27FC236}">
                  <a16:creationId xmlns:a16="http://schemas.microsoft.com/office/drawing/2014/main" id="{3E8DCA24-F689-4F52-AC15-9977600BCF8E}"/>
                </a:ext>
              </a:extLst>
            </p:cNvPr>
            <p:cNvGrpSpPr/>
            <p:nvPr/>
          </p:nvGrpSpPr>
          <p:grpSpPr>
            <a:xfrm>
              <a:off x="730757" y="3164100"/>
              <a:ext cx="326112" cy="326112"/>
              <a:chOff x="115497" y="1864737"/>
              <a:chExt cx="461744" cy="461744"/>
            </a:xfrm>
            <a:solidFill>
              <a:schemeClr val="tx2"/>
            </a:solidFill>
          </p:grpSpPr>
          <p:sp>
            <p:nvSpPr>
              <p:cNvPr id="67" name="Freeform: Shape 66">
                <a:extLst>
                  <a:ext uri="{FF2B5EF4-FFF2-40B4-BE49-F238E27FC236}">
                    <a16:creationId xmlns:a16="http://schemas.microsoft.com/office/drawing/2014/main" id="{B2BD1EA2-61E0-4EC2-AD0B-094D0B9C4D0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8" name="Graphic 77">
                <a:extLst>
                  <a:ext uri="{FF2B5EF4-FFF2-40B4-BE49-F238E27FC236}">
                    <a16:creationId xmlns:a16="http://schemas.microsoft.com/office/drawing/2014/main" id="{B6DB75E1-7967-41AB-8FD6-5430FCE3018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74" name="Group 73">
            <a:extLst>
              <a:ext uri="{FF2B5EF4-FFF2-40B4-BE49-F238E27FC236}">
                <a16:creationId xmlns:a16="http://schemas.microsoft.com/office/drawing/2014/main" id="{50C4E2D5-ABEE-4F1C-8DF5-73DE5AC2F27A}"/>
              </a:ext>
            </a:extLst>
          </p:cNvPr>
          <p:cNvGrpSpPr/>
          <p:nvPr/>
        </p:nvGrpSpPr>
        <p:grpSpPr>
          <a:xfrm>
            <a:off x="506805" y="3078208"/>
            <a:ext cx="5613527" cy="522386"/>
            <a:chOff x="506805" y="4236663"/>
            <a:chExt cx="5613527" cy="522386"/>
          </a:xfrm>
        </p:grpSpPr>
        <p:sp>
          <p:nvSpPr>
            <p:cNvPr id="75" name="Rectangle 74">
              <a:extLst>
                <a:ext uri="{FF2B5EF4-FFF2-40B4-BE49-F238E27FC236}">
                  <a16:creationId xmlns:a16="http://schemas.microsoft.com/office/drawing/2014/main" id="{030E3A6F-B40A-4569-AC93-BDC1DEAA095C}"/>
                </a:ext>
              </a:extLst>
            </p:cNvPr>
            <p:cNvSpPr/>
            <p:nvPr/>
          </p:nvSpPr>
          <p:spPr>
            <a:xfrm>
              <a:off x="506805" y="42366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endParaRPr lang="en-US" sz="1600">
                <a:solidFill>
                  <a:schemeClr val="tx1"/>
                </a:solidFill>
              </a:endParaRPr>
            </a:p>
          </p:txBody>
        </p:sp>
        <p:grpSp>
          <p:nvGrpSpPr>
            <p:cNvPr id="76" name="Group 75">
              <a:extLst>
                <a:ext uri="{FF2B5EF4-FFF2-40B4-BE49-F238E27FC236}">
                  <a16:creationId xmlns:a16="http://schemas.microsoft.com/office/drawing/2014/main" id="{8C5E5E53-E510-40D8-92C4-7975BF31BFF1}"/>
                </a:ext>
              </a:extLst>
            </p:cNvPr>
            <p:cNvGrpSpPr/>
            <p:nvPr/>
          </p:nvGrpSpPr>
          <p:grpSpPr>
            <a:xfrm>
              <a:off x="730757" y="4334800"/>
              <a:ext cx="326112" cy="326112"/>
              <a:chOff x="115497" y="1864737"/>
              <a:chExt cx="461744" cy="461744"/>
            </a:xfrm>
            <a:solidFill>
              <a:schemeClr val="tx2"/>
            </a:solidFill>
          </p:grpSpPr>
          <p:sp>
            <p:nvSpPr>
              <p:cNvPr id="77" name="Freeform: Shape 76">
                <a:extLst>
                  <a:ext uri="{FF2B5EF4-FFF2-40B4-BE49-F238E27FC236}">
                    <a16:creationId xmlns:a16="http://schemas.microsoft.com/office/drawing/2014/main" id="{C0E7479B-2E41-41A8-8F1A-01E828705C0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8" name="Graphic 77">
                <a:extLst>
                  <a:ext uri="{FF2B5EF4-FFF2-40B4-BE49-F238E27FC236}">
                    <a16:creationId xmlns:a16="http://schemas.microsoft.com/office/drawing/2014/main" id="{548EAD0B-AEC3-471A-8197-CE03DECE60E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79" name="Group 78">
            <a:extLst>
              <a:ext uri="{FF2B5EF4-FFF2-40B4-BE49-F238E27FC236}">
                <a16:creationId xmlns:a16="http://schemas.microsoft.com/office/drawing/2014/main" id="{00543721-9F23-4D2C-A13E-D93B984A9FDA}"/>
              </a:ext>
            </a:extLst>
          </p:cNvPr>
          <p:cNvGrpSpPr/>
          <p:nvPr/>
        </p:nvGrpSpPr>
        <p:grpSpPr>
          <a:xfrm>
            <a:off x="506805" y="3667722"/>
            <a:ext cx="5613527" cy="522386"/>
            <a:chOff x="506805" y="4822013"/>
            <a:chExt cx="5613527" cy="522386"/>
          </a:xfrm>
        </p:grpSpPr>
        <p:sp>
          <p:nvSpPr>
            <p:cNvPr id="80" name="Rectangle 79">
              <a:extLst>
                <a:ext uri="{FF2B5EF4-FFF2-40B4-BE49-F238E27FC236}">
                  <a16:creationId xmlns:a16="http://schemas.microsoft.com/office/drawing/2014/main" id="{531F93E7-ED00-4260-816E-6CBCB07E9A23}"/>
                </a:ext>
              </a:extLst>
            </p:cNvPr>
            <p:cNvSpPr/>
            <p:nvPr/>
          </p:nvSpPr>
          <p:spPr>
            <a:xfrm>
              <a:off x="506805" y="482201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endParaRPr lang="en-US" sz="1600">
                <a:solidFill>
                  <a:schemeClr val="tx1"/>
                </a:solidFill>
              </a:endParaRPr>
            </a:p>
          </p:txBody>
        </p:sp>
        <p:grpSp>
          <p:nvGrpSpPr>
            <p:cNvPr id="81" name="Group 80">
              <a:extLst>
                <a:ext uri="{FF2B5EF4-FFF2-40B4-BE49-F238E27FC236}">
                  <a16:creationId xmlns:a16="http://schemas.microsoft.com/office/drawing/2014/main" id="{82CB8E29-DE60-4DA7-B4D0-2E855D242409}"/>
                </a:ext>
              </a:extLst>
            </p:cNvPr>
            <p:cNvGrpSpPr/>
            <p:nvPr/>
          </p:nvGrpSpPr>
          <p:grpSpPr>
            <a:xfrm>
              <a:off x="730757" y="4920150"/>
              <a:ext cx="326112" cy="326112"/>
              <a:chOff x="115497" y="1864737"/>
              <a:chExt cx="461744" cy="461744"/>
            </a:xfrm>
            <a:solidFill>
              <a:schemeClr val="tx2"/>
            </a:solidFill>
          </p:grpSpPr>
          <p:sp>
            <p:nvSpPr>
              <p:cNvPr id="82" name="Freeform: Shape 81">
                <a:extLst>
                  <a:ext uri="{FF2B5EF4-FFF2-40B4-BE49-F238E27FC236}">
                    <a16:creationId xmlns:a16="http://schemas.microsoft.com/office/drawing/2014/main" id="{FD2A5F48-3EE0-4254-933E-F0507DBF41A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3" name="Graphic 77">
                <a:extLst>
                  <a:ext uri="{FF2B5EF4-FFF2-40B4-BE49-F238E27FC236}">
                    <a16:creationId xmlns:a16="http://schemas.microsoft.com/office/drawing/2014/main" id="{54D9EF2F-59A7-4FDC-996B-D738619C34A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84" name="Group 83">
            <a:extLst>
              <a:ext uri="{FF2B5EF4-FFF2-40B4-BE49-F238E27FC236}">
                <a16:creationId xmlns:a16="http://schemas.microsoft.com/office/drawing/2014/main" id="{95831B84-1C17-4A14-9584-93D7C92B4AC9}"/>
              </a:ext>
            </a:extLst>
          </p:cNvPr>
          <p:cNvGrpSpPr/>
          <p:nvPr/>
        </p:nvGrpSpPr>
        <p:grpSpPr>
          <a:xfrm>
            <a:off x="506805" y="4257236"/>
            <a:ext cx="5613527" cy="522386"/>
            <a:chOff x="506805" y="5407363"/>
            <a:chExt cx="5613527" cy="522386"/>
          </a:xfrm>
        </p:grpSpPr>
        <p:sp>
          <p:nvSpPr>
            <p:cNvPr id="85" name="Rectangle 84">
              <a:extLst>
                <a:ext uri="{FF2B5EF4-FFF2-40B4-BE49-F238E27FC236}">
                  <a16:creationId xmlns:a16="http://schemas.microsoft.com/office/drawing/2014/main" id="{8DE2201B-869B-46E1-9DBD-5685B60F9033}"/>
                </a:ext>
              </a:extLst>
            </p:cNvPr>
            <p:cNvSpPr/>
            <p:nvPr/>
          </p:nvSpPr>
          <p:spPr>
            <a:xfrm>
              <a:off x="506805" y="54073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pPr lvl="0"/>
              <a:r>
                <a:rPr lang="en-US" sz="1600">
                  <a:solidFill>
                    <a:schemeClr val="tx1"/>
                  </a:solidFill>
                </a:rPr>
                <a:t>Testing</a:t>
              </a:r>
            </a:p>
          </p:txBody>
        </p:sp>
        <p:grpSp>
          <p:nvGrpSpPr>
            <p:cNvPr id="86" name="Group 85">
              <a:extLst>
                <a:ext uri="{FF2B5EF4-FFF2-40B4-BE49-F238E27FC236}">
                  <a16:creationId xmlns:a16="http://schemas.microsoft.com/office/drawing/2014/main" id="{B2369DA4-97F3-49AA-A7F8-1E5CFA46923C}"/>
                </a:ext>
              </a:extLst>
            </p:cNvPr>
            <p:cNvGrpSpPr/>
            <p:nvPr/>
          </p:nvGrpSpPr>
          <p:grpSpPr>
            <a:xfrm>
              <a:off x="730757" y="5505500"/>
              <a:ext cx="326112" cy="326112"/>
              <a:chOff x="115497" y="1864737"/>
              <a:chExt cx="461744" cy="461744"/>
            </a:xfrm>
            <a:solidFill>
              <a:schemeClr val="tx2"/>
            </a:solidFill>
          </p:grpSpPr>
          <p:sp>
            <p:nvSpPr>
              <p:cNvPr id="87" name="Freeform: Shape 86">
                <a:extLst>
                  <a:ext uri="{FF2B5EF4-FFF2-40B4-BE49-F238E27FC236}">
                    <a16:creationId xmlns:a16="http://schemas.microsoft.com/office/drawing/2014/main" id="{907CCD18-B526-49B1-B2D6-EC23F8940C5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8" name="Graphic 77">
                <a:extLst>
                  <a:ext uri="{FF2B5EF4-FFF2-40B4-BE49-F238E27FC236}">
                    <a16:creationId xmlns:a16="http://schemas.microsoft.com/office/drawing/2014/main" id="{B87852BE-A84F-43C9-9B66-6661E392814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93" name="Group 92">
            <a:extLst>
              <a:ext uri="{FF2B5EF4-FFF2-40B4-BE49-F238E27FC236}">
                <a16:creationId xmlns:a16="http://schemas.microsoft.com/office/drawing/2014/main" id="{5E1CA762-CB82-429E-89B2-E95C130A0A2A}"/>
              </a:ext>
            </a:extLst>
          </p:cNvPr>
          <p:cNvGrpSpPr/>
          <p:nvPr/>
        </p:nvGrpSpPr>
        <p:grpSpPr>
          <a:xfrm>
            <a:off x="650727" y="1143371"/>
            <a:ext cx="497036" cy="499600"/>
            <a:chOff x="8121835" y="4193647"/>
            <a:chExt cx="847725" cy="852101"/>
          </a:xfrm>
        </p:grpSpPr>
        <p:sp>
          <p:nvSpPr>
            <p:cNvPr id="94" name="Freeform: Shape 93">
              <a:extLst>
                <a:ext uri="{FF2B5EF4-FFF2-40B4-BE49-F238E27FC236}">
                  <a16:creationId xmlns:a16="http://schemas.microsoft.com/office/drawing/2014/main" id="{435EF289-2D65-4F5A-B305-094781357BB8}"/>
                </a:ext>
              </a:extLst>
            </p:cNvPr>
            <p:cNvSpPr/>
            <p:nvPr/>
          </p:nvSpPr>
          <p:spPr>
            <a:xfrm>
              <a:off x="8121835" y="4242767"/>
              <a:ext cx="847725" cy="152400"/>
            </a:xfrm>
            <a:custGeom>
              <a:avLst/>
              <a:gdLst>
                <a:gd name="connsiteX0" fmla="*/ 826296 w 847725"/>
                <a:gd name="connsiteY0" fmla="*/ 0 h 152400"/>
                <a:gd name="connsiteX1" fmla="*/ 738024 w 847725"/>
                <a:gd name="connsiteY1" fmla="*/ 0 h 152400"/>
                <a:gd name="connsiteX2" fmla="*/ 738024 w 847725"/>
                <a:gd name="connsiteY2" fmla="*/ 58298 h 152400"/>
                <a:gd name="connsiteX3" fmla="*/ 710224 w 847725"/>
                <a:gd name="connsiteY3" fmla="*/ 86096 h 152400"/>
                <a:gd name="connsiteX4" fmla="*/ 682423 w 847725"/>
                <a:gd name="connsiteY4" fmla="*/ 58298 h 152400"/>
                <a:gd name="connsiteX5" fmla="*/ 682423 w 847725"/>
                <a:gd name="connsiteY5" fmla="*/ 0 h 152400"/>
                <a:gd name="connsiteX6" fmla="*/ 549318 w 847725"/>
                <a:gd name="connsiteY6" fmla="*/ 0 h 152400"/>
                <a:gd name="connsiteX7" fmla="*/ 549318 w 847725"/>
                <a:gd name="connsiteY7" fmla="*/ 58298 h 152400"/>
                <a:gd name="connsiteX8" fmla="*/ 521516 w 847725"/>
                <a:gd name="connsiteY8" fmla="*/ 86096 h 152400"/>
                <a:gd name="connsiteX9" fmla="*/ 493718 w 847725"/>
                <a:gd name="connsiteY9" fmla="*/ 58298 h 152400"/>
                <a:gd name="connsiteX10" fmla="*/ 493718 w 847725"/>
                <a:gd name="connsiteY10" fmla="*/ 0 h 152400"/>
                <a:gd name="connsiteX11" fmla="*/ 360611 w 847725"/>
                <a:gd name="connsiteY11" fmla="*/ 0 h 152400"/>
                <a:gd name="connsiteX12" fmla="*/ 360611 w 847725"/>
                <a:gd name="connsiteY12" fmla="*/ 58298 h 152400"/>
                <a:gd name="connsiteX13" fmla="*/ 332809 w 847725"/>
                <a:gd name="connsiteY13" fmla="*/ 86096 h 152400"/>
                <a:gd name="connsiteX14" fmla="*/ 305011 w 847725"/>
                <a:gd name="connsiteY14" fmla="*/ 58298 h 152400"/>
                <a:gd name="connsiteX15" fmla="*/ 305011 w 847725"/>
                <a:gd name="connsiteY15" fmla="*/ 0 h 152400"/>
                <a:gd name="connsiteX16" fmla="*/ 171904 w 847725"/>
                <a:gd name="connsiteY16" fmla="*/ 0 h 152400"/>
                <a:gd name="connsiteX17" fmla="*/ 171904 w 847725"/>
                <a:gd name="connsiteY17" fmla="*/ 58298 h 152400"/>
                <a:gd name="connsiteX18" fmla="*/ 144106 w 847725"/>
                <a:gd name="connsiteY18" fmla="*/ 86096 h 152400"/>
                <a:gd name="connsiteX19" fmla="*/ 116304 w 847725"/>
                <a:gd name="connsiteY19" fmla="*/ 58298 h 152400"/>
                <a:gd name="connsiteX20" fmla="*/ 116304 w 847725"/>
                <a:gd name="connsiteY20" fmla="*/ 0 h 152400"/>
                <a:gd name="connsiteX21" fmla="*/ 28073 w 847725"/>
                <a:gd name="connsiteY21" fmla="*/ 0 h 152400"/>
                <a:gd name="connsiteX22" fmla="*/ 0 w 847725"/>
                <a:gd name="connsiteY22" fmla="*/ 28069 h 152400"/>
                <a:gd name="connsiteX23" fmla="*/ 0 w 847725"/>
                <a:gd name="connsiteY23" fmla="*/ 160770 h 152400"/>
                <a:gd name="connsiteX24" fmla="*/ 854366 w 847725"/>
                <a:gd name="connsiteY24" fmla="*/ 160770 h 152400"/>
                <a:gd name="connsiteX25" fmla="*/ 854366 w 847725"/>
                <a:gd name="connsiteY25" fmla="*/ 28069 h 152400"/>
                <a:gd name="connsiteX26" fmla="*/ 826296 w 847725"/>
                <a:gd name="connsiteY26"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7725" h="152400">
                  <a:moveTo>
                    <a:pt x="826296" y="0"/>
                  </a:moveTo>
                  <a:lnTo>
                    <a:pt x="738024" y="0"/>
                  </a:lnTo>
                  <a:lnTo>
                    <a:pt x="738024" y="58298"/>
                  </a:lnTo>
                  <a:cubicBezTo>
                    <a:pt x="738024" y="73627"/>
                    <a:pt x="725550" y="86096"/>
                    <a:pt x="710224" y="86096"/>
                  </a:cubicBezTo>
                  <a:cubicBezTo>
                    <a:pt x="694897" y="86096"/>
                    <a:pt x="682423" y="73627"/>
                    <a:pt x="682423" y="58298"/>
                  </a:cubicBezTo>
                  <a:lnTo>
                    <a:pt x="682423" y="0"/>
                  </a:lnTo>
                  <a:lnTo>
                    <a:pt x="549318" y="0"/>
                  </a:lnTo>
                  <a:lnTo>
                    <a:pt x="549318" y="58298"/>
                  </a:lnTo>
                  <a:cubicBezTo>
                    <a:pt x="549318" y="73627"/>
                    <a:pt x="536846" y="86096"/>
                    <a:pt x="521516" y="86096"/>
                  </a:cubicBezTo>
                  <a:cubicBezTo>
                    <a:pt x="506187" y="86096"/>
                    <a:pt x="493718" y="73627"/>
                    <a:pt x="493718" y="58298"/>
                  </a:cubicBezTo>
                  <a:lnTo>
                    <a:pt x="493718" y="0"/>
                  </a:lnTo>
                  <a:lnTo>
                    <a:pt x="360611" y="0"/>
                  </a:lnTo>
                  <a:lnTo>
                    <a:pt x="360611" y="58298"/>
                  </a:lnTo>
                  <a:cubicBezTo>
                    <a:pt x="360611" y="73627"/>
                    <a:pt x="348139" y="86096"/>
                    <a:pt x="332809" y="86096"/>
                  </a:cubicBezTo>
                  <a:cubicBezTo>
                    <a:pt x="317480" y="86096"/>
                    <a:pt x="305011" y="73627"/>
                    <a:pt x="305011" y="58298"/>
                  </a:cubicBezTo>
                  <a:lnTo>
                    <a:pt x="305011" y="0"/>
                  </a:lnTo>
                  <a:lnTo>
                    <a:pt x="171904" y="0"/>
                  </a:lnTo>
                  <a:lnTo>
                    <a:pt x="171904" y="58298"/>
                  </a:lnTo>
                  <a:cubicBezTo>
                    <a:pt x="171904" y="73627"/>
                    <a:pt x="159435" y="86096"/>
                    <a:pt x="144106" y="86096"/>
                  </a:cubicBezTo>
                  <a:cubicBezTo>
                    <a:pt x="128777" y="86096"/>
                    <a:pt x="116304" y="73627"/>
                    <a:pt x="116304" y="58298"/>
                  </a:cubicBezTo>
                  <a:lnTo>
                    <a:pt x="116304" y="0"/>
                  </a:lnTo>
                  <a:lnTo>
                    <a:pt x="28073" y="0"/>
                  </a:lnTo>
                  <a:cubicBezTo>
                    <a:pt x="12595" y="0"/>
                    <a:pt x="0" y="12594"/>
                    <a:pt x="0" y="28069"/>
                  </a:cubicBezTo>
                  <a:lnTo>
                    <a:pt x="0" y="160770"/>
                  </a:lnTo>
                  <a:lnTo>
                    <a:pt x="854366" y="160770"/>
                  </a:lnTo>
                  <a:lnTo>
                    <a:pt x="854366" y="28069"/>
                  </a:lnTo>
                  <a:cubicBezTo>
                    <a:pt x="854366" y="12594"/>
                    <a:pt x="841774" y="0"/>
                    <a:pt x="826296" y="0"/>
                  </a:cubicBezTo>
                  <a:close/>
                </a:path>
              </a:pathLst>
            </a:custGeom>
            <a:solidFill>
              <a:schemeClr val="accent2"/>
            </a:solidFill>
            <a:ln w="6572"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C3AC4F5-B8CF-4C17-AF27-028BA4F2F78A}"/>
                </a:ext>
              </a:extLst>
            </p:cNvPr>
            <p:cNvSpPr/>
            <p:nvPr/>
          </p:nvSpPr>
          <p:spPr>
            <a:xfrm>
              <a:off x="8817823" y="4193647"/>
              <a:ext cx="19050" cy="114300"/>
            </a:xfrm>
            <a:custGeom>
              <a:avLst/>
              <a:gdLst>
                <a:gd name="connsiteX0" fmla="*/ 14235 w 19050"/>
                <a:gd name="connsiteY0" fmla="*/ 121655 h 114300"/>
                <a:gd name="connsiteX1" fmla="*/ 28471 w 19050"/>
                <a:gd name="connsiteY1" fmla="*/ 107418 h 114300"/>
                <a:gd name="connsiteX2" fmla="*/ 28471 w 19050"/>
                <a:gd name="connsiteY2" fmla="*/ 42405 h 114300"/>
                <a:gd name="connsiteX3" fmla="*/ 28458 w 19050"/>
                <a:gd name="connsiteY3" fmla="*/ 42340 h 114300"/>
                <a:gd name="connsiteX4" fmla="*/ 28471 w 19050"/>
                <a:gd name="connsiteY4" fmla="*/ 42274 h 114300"/>
                <a:gd name="connsiteX5" fmla="*/ 28471 w 19050"/>
                <a:gd name="connsiteY5" fmla="*/ 14243 h 114300"/>
                <a:gd name="connsiteX6" fmla="*/ 14235 w 19050"/>
                <a:gd name="connsiteY6" fmla="*/ 0 h 114300"/>
                <a:gd name="connsiteX7" fmla="*/ 0 w 19050"/>
                <a:gd name="connsiteY7" fmla="*/ 14243 h 114300"/>
                <a:gd name="connsiteX8" fmla="*/ 0 w 19050"/>
                <a:gd name="connsiteY8" fmla="*/ 107418 h 114300"/>
                <a:gd name="connsiteX9" fmla="*/ 14235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5" y="121655"/>
                  </a:moveTo>
                  <a:cubicBezTo>
                    <a:pt x="22083" y="121655"/>
                    <a:pt x="28471" y="115271"/>
                    <a:pt x="28471" y="107418"/>
                  </a:cubicBezTo>
                  <a:lnTo>
                    <a:pt x="28471" y="42405"/>
                  </a:lnTo>
                  <a:cubicBezTo>
                    <a:pt x="28471" y="42382"/>
                    <a:pt x="28458" y="42363"/>
                    <a:pt x="28458" y="42340"/>
                  </a:cubicBezTo>
                  <a:cubicBezTo>
                    <a:pt x="28458" y="42316"/>
                    <a:pt x="28471" y="42297"/>
                    <a:pt x="28471" y="42274"/>
                  </a:cubicBezTo>
                  <a:lnTo>
                    <a:pt x="28471" y="14243"/>
                  </a:lnTo>
                  <a:cubicBezTo>
                    <a:pt x="28471" y="6390"/>
                    <a:pt x="22083" y="0"/>
                    <a:pt x="14235" y="0"/>
                  </a:cubicBezTo>
                  <a:cubicBezTo>
                    <a:pt x="6388" y="0"/>
                    <a:pt x="0" y="6390"/>
                    <a:pt x="0" y="14243"/>
                  </a:cubicBezTo>
                  <a:lnTo>
                    <a:pt x="0" y="107418"/>
                  </a:lnTo>
                  <a:cubicBezTo>
                    <a:pt x="0" y="115271"/>
                    <a:pt x="6388" y="121655"/>
                    <a:pt x="14235" y="121655"/>
                  </a:cubicBezTo>
                  <a:close/>
                </a:path>
              </a:pathLst>
            </a:custGeom>
            <a:solidFill>
              <a:schemeClr val="accent2"/>
            </a:solidFill>
            <a:ln w="6572"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3D9CA0F8-45DB-4452-8902-D59EF6987F2E}"/>
                </a:ext>
              </a:extLst>
            </p:cNvPr>
            <p:cNvSpPr/>
            <p:nvPr/>
          </p:nvSpPr>
          <p:spPr>
            <a:xfrm>
              <a:off x="8440408"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AF59A492-AF15-447B-8B4C-3EF2C022C1CB}"/>
                </a:ext>
              </a:extLst>
            </p:cNvPr>
            <p:cNvSpPr/>
            <p:nvPr/>
          </p:nvSpPr>
          <p:spPr>
            <a:xfrm>
              <a:off x="8251701" y="4193647"/>
              <a:ext cx="19050" cy="114300"/>
            </a:xfrm>
            <a:custGeom>
              <a:avLst/>
              <a:gdLst>
                <a:gd name="connsiteX0" fmla="*/ 14240 w 19050"/>
                <a:gd name="connsiteY0" fmla="*/ 121655 h 114300"/>
                <a:gd name="connsiteX1" fmla="*/ 28477 w 19050"/>
                <a:gd name="connsiteY1" fmla="*/ 107418 h 114300"/>
                <a:gd name="connsiteX2" fmla="*/ 28477 w 19050"/>
                <a:gd name="connsiteY2" fmla="*/ 42405 h 114300"/>
                <a:gd name="connsiteX3" fmla="*/ 28463 w 19050"/>
                <a:gd name="connsiteY3" fmla="*/ 42340 h 114300"/>
                <a:gd name="connsiteX4" fmla="*/ 28477 w 19050"/>
                <a:gd name="connsiteY4" fmla="*/ 42274 h 114300"/>
                <a:gd name="connsiteX5" fmla="*/ 28477 w 19050"/>
                <a:gd name="connsiteY5" fmla="*/ 14243 h 114300"/>
                <a:gd name="connsiteX6" fmla="*/ 14240 w 19050"/>
                <a:gd name="connsiteY6" fmla="*/ 0 h 114300"/>
                <a:gd name="connsiteX7" fmla="*/ 0 w 19050"/>
                <a:gd name="connsiteY7" fmla="*/ 14243 h 114300"/>
                <a:gd name="connsiteX8" fmla="*/ 0 w 19050"/>
                <a:gd name="connsiteY8" fmla="*/ 107418 h 114300"/>
                <a:gd name="connsiteX9" fmla="*/ 14240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40" y="121655"/>
                  </a:moveTo>
                  <a:cubicBezTo>
                    <a:pt x="22090" y="121655"/>
                    <a:pt x="28477" y="115271"/>
                    <a:pt x="28477" y="107418"/>
                  </a:cubicBezTo>
                  <a:lnTo>
                    <a:pt x="28477" y="42405"/>
                  </a:lnTo>
                  <a:cubicBezTo>
                    <a:pt x="28476" y="42382"/>
                    <a:pt x="28463" y="42363"/>
                    <a:pt x="28463" y="42340"/>
                  </a:cubicBezTo>
                  <a:cubicBezTo>
                    <a:pt x="28463" y="42316"/>
                    <a:pt x="28476" y="42297"/>
                    <a:pt x="28477" y="42274"/>
                  </a:cubicBezTo>
                  <a:lnTo>
                    <a:pt x="28477" y="14243"/>
                  </a:lnTo>
                  <a:cubicBezTo>
                    <a:pt x="28477" y="6390"/>
                    <a:pt x="22090" y="0"/>
                    <a:pt x="14240" y="0"/>
                  </a:cubicBezTo>
                  <a:cubicBezTo>
                    <a:pt x="6386" y="0"/>
                    <a:pt x="0" y="6390"/>
                    <a:pt x="0" y="14243"/>
                  </a:cubicBezTo>
                  <a:lnTo>
                    <a:pt x="0" y="107418"/>
                  </a:lnTo>
                  <a:cubicBezTo>
                    <a:pt x="0" y="115271"/>
                    <a:pt x="6386" y="121655"/>
                    <a:pt x="14240" y="121655"/>
                  </a:cubicBezTo>
                  <a:close/>
                </a:path>
              </a:pathLst>
            </a:custGeom>
            <a:solidFill>
              <a:schemeClr val="accent2"/>
            </a:solidFill>
            <a:ln w="6572"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44DF95E9-EB5D-45DC-B6C5-FDB46D7810EC}"/>
                </a:ext>
              </a:extLst>
            </p:cNvPr>
            <p:cNvSpPr/>
            <p:nvPr/>
          </p:nvSpPr>
          <p:spPr>
            <a:xfrm>
              <a:off x="8629115"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2DAF00A7-42CB-487A-A46E-4043059D2A8C}"/>
                </a:ext>
              </a:extLst>
            </p:cNvPr>
            <p:cNvSpPr/>
            <p:nvPr/>
          </p:nvSpPr>
          <p:spPr>
            <a:xfrm>
              <a:off x="8121835" y="4417098"/>
              <a:ext cx="847725" cy="628650"/>
            </a:xfrm>
            <a:custGeom>
              <a:avLst/>
              <a:gdLst>
                <a:gd name="connsiteX0" fmla="*/ 0 w 847725"/>
                <a:gd name="connsiteY0" fmla="*/ 602871 h 628650"/>
                <a:gd name="connsiteX1" fmla="*/ 28073 w 847725"/>
                <a:gd name="connsiteY1" fmla="*/ 630941 h 628650"/>
                <a:gd name="connsiteX2" fmla="*/ 826296 w 847725"/>
                <a:gd name="connsiteY2" fmla="*/ 630941 h 628650"/>
                <a:gd name="connsiteX3" fmla="*/ 854366 w 847725"/>
                <a:gd name="connsiteY3" fmla="*/ 602871 h 628650"/>
                <a:gd name="connsiteX4" fmla="*/ 854366 w 847725"/>
                <a:gd name="connsiteY4" fmla="*/ 0 h 628650"/>
                <a:gd name="connsiteX5" fmla="*/ 0 w 847725"/>
                <a:gd name="connsiteY5" fmla="*/ 0 h 628650"/>
                <a:gd name="connsiteX6" fmla="*/ 0 w 847725"/>
                <a:gd name="connsiteY6" fmla="*/ 602871 h 628650"/>
                <a:gd name="connsiteX7" fmla="*/ 569167 w 847725"/>
                <a:gd name="connsiteY7" fmla="*/ 191812 h 628650"/>
                <a:gd name="connsiteX8" fmla="*/ 574643 w 847725"/>
                <a:gd name="connsiteY8" fmla="*/ 187197 h 628650"/>
                <a:gd name="connsiteX9" fmla="*/ 612688 w 847725"/>
                <a:gd name="connsiteY9" fmla="*/ 181668 h 628650"/>
                <a:gd name="connsiteX10" fmla="*/ 629700 w 847725"/>
                <a:gd name="connsiteY10" fmla="*/ 147189 h 628650"/>
                <a:gd name="connsiteX11" fmla="*/ 641866 w 847725"/>
                <a:gd name="connsiteY11" fmla="*/ 147189 h 628650"/>
                <a:gd name="connsiteX12" fmla="*/ 658881 w 847725"/>
                <a:gd name="connsiteY12" fmla="*/ 181668 h 628650"/>
                <a:gd name="connsiteX13" fmla="*/ 696921 w 847725"/>
                <a:gd name="connsiteY13" fmla="*/ 187197 h 628650"/>
                <a:gd name="connsiteX14" fmla="*/ 702403 w 847725"/>
                <a:gd name="connsiteY14" fmla="*/ 191812 h 628650"/>
                <a:gd name="connsiteX15" fmla="*/ 700681 w 847725"/>
                <a:gd name="connsiteY15" fmla="*/ 198759 h 628650"/>
                <a:gd name="connsiteX16" fmla="*/ 673149 w 847725"/>
                <a:gd name="connsiteY16" fmla="*/ 225597 h 628650"/>
                <a:gd name="connsiteX17" fmla="*/ 679649 w 847725"/>
                <a:gd name="connsiteY17" fmla="*/ 263493 h 628650"/>
                <a:gd name="connsiteX18" fmla="*/ 676955 w 847725"/>
                <a:gd name="connsiteY18" fmla="*/ 270121 h 628650"/>
                <a:gd name="connsiteX19" fmla="*/ 672965 w 847725"/>
                <a:gd name="connsiteY19" fmla="*/ 271419 h 628650"/>
                <a:gd name="connsiteX20" fmla="*/ 669811 w 847725"/>
                <a:gd name="connsiteY20" fmla="*/ 270638 h 628650"/>
                <a:gd name="connsiteX21" fmla="*/ 635780 w 847725"/>
                <a:gd name="connsiteY21" fmla="*/ 252746 h 628650"/>
                <a:gd name="connsiteX22" fmla="*/ 601752 w 847725"/>
                <a:gd name="connsiteY22" fmla="*/ 270638 h 628650"/>
                <a:gd name="connsiteX23" fmla="*/ 594611 w 847725"/>
                <a:gd name="connsiteY23" fmla="*/ 270121 h 628650"/>
                <a:gd name="connsiteX24" fmla="*/ 591913 w 847725"/>
                <a:gd name="connsiteY24" fmla="*/ 263493 h 628650"/>
                <a:gd name="connsiteX25" fmla="*/ 598412 w 847725"/>
                <a:gd name="connsiteY25" fmla="*/ 225597 h 628650"/>
                <a:gd name="connsiteX26" fmla="*/ 570885 w 847725"/>
                <a:gd name="connsiteY26" fmla="*/ 198759 h 628650"/>
                <a:gd name="connsiteX27" fmla="*/ 569167 w 847725"/>
                <a:gd name="connsiteY27" fmla="*/ 191812 h 628650"/>
                <a:gd name="connsiteX28" fmla="*/ 324463 w 847725"/>
                <a:gd name="connsiteY28" fmla="*/ 108696 h 628650"/>
                <a:gd name="connsiteX29" fmla="*/ 329939 w 847725"/>
                <a:gd name="connsiteY29" fmla="*/ 104081 h 628650"/>
                <a:gd name="connsiteX30" fmla="*/ 392932 w 847725"/>
                <a:gd name="connsiteY30" fmla="*/ 94930 h 628650"/>
                <a:gd name="connsiteX31" fmla="*/ 421101 w 847725"/>
                <a:gd name="connsiteY31" fmla="*/ 37850 h 628650"/>
                <a:gd name="connsiteX32" fmla="*/ 433265 w 847725"/>
                <a:gd name="connsiteY32" fmla="*/ 37850 h 628650"/>
                <a:gd name="connsiteX33" fmla="*/ 461434 w 847725"/>
                <a:gd name="connsiteY33" fmla="*/ 94930 h 628650"/>
                <a:gd name="connsiteX34" fmla="*/ 524423 w 847725"/>
                <a:gd name="connsiteY34" fmla="*/ 104081 h 628650"/>
                <a:gd name="connsiteX35" fmla="*/ 529900 w 847725"/>
                <a:gd name="connsiteY35" fmla="*/ 108696 h 628650"/>
                <a:gd name="connsiteX36" fmla="*/ 528185 w 847725"/>
                <a:gd name="connsiteY36" fmla="*/ 115643 h 628650"/>
                <a:gd name="connsiteX37" fmla="*/ 482604 w 847725"/>
                <a:gd name="connsiteY37" fmla="*/ 160074 h 628650"/>
                <a:gd name="connsiteX38" fmla="*/ 493364 w 847725"/>
                <a:gd name="connsiteY38" fmla="*/ 222816 h 628650"/>
                <a:gd name="connsiteX39" fmla="*/ 490666 w 847725"/>
                <a:gd name="connsiteY39" fmla="*/ 229444 h 628650"/>
                <a:gd name="connsiteX40" fmla="*/ 486680 w 847725"/>
                <a:gd name="connsiteY40" fmla="*/ 230742 h 628650"/>
                <a:gd name="connsiteX41" fmla="*/ 483524 w 847725"/>
                <a:gd name="connsiteY41" fmla="*/ 229960 h 628650"/>
                <a:gd name="connsiteX42" fmla="*/ 427183 w 847725"/>
                <a:gd name="connsiteY42" fmla="*/ 200341 h 628650"/>
                <a:gd name="connsiteX43" fmla="*/ 370842 w 847725"/>
                <a:gd name="connsiteY43" fmla="*/ 229960 h 628650"/>
                <a:gd name="connsiteX44" fmla="*/ 363700 w 847725"/>
                <a:gd name="connsiteY44" fmla="*/ 229444 h 628650"/>
                <a:gd name="connsiteX45" fmla="*/ 361002 w 847725"/>
                <a:gd name="connsiteY45" fmla="*/ 222816 h 628650"/>
                <a:gd name="connsiteX46" fmla="*/ 371762 w 847725"/>
                <a:gd name="connsiteY46" fmla="*/ 160081 h 628650"/>
                <a:gd name="connsiteX47" fmla="*/ 326178 w 847725"/>
                <a:gd name="connsiteY47" fmla="*/ 115643 h 628650"/>
                <a:gd name="connsiteX48" fmla="*/ 324463 w 847725"/>
                <a:gd name="connsiteY48" fmla="*/ 108696 h 628650"/>
                <a:gd name="connsiteX49" fmla="*/ 151966 w 847725"/>
                <a:gd name="connsiteY49" fmla="*/ 191812 h 628650"/>
                <a:gd name="connsiteX50" fmla="*/ 157442 w 847725"/>
                <a:gd name="connsiteY50" fmla="*/ 187197 h 628650"/>
                <a:gd name="connsiteX51" fmla="*/ 195488 w 847725"/>
                <a:gd name="connsiteY51" fmla="*/ 181668 h 628650"/>
                <a:gd name="connsiteX52" fmla="*/ 212499 w 847725"/>
                <a:gd name="connsiteY52" fmla="*/ 147189 h 628650"/>
                <a:gd name="connsiteX53" fmla="*/ 224663 w 847725"/>
                <a:gd name="connsiteY53" fmla="*/ 147189 h 628650"/>
                <a:gd name="connsiteX54" fmla="*/ 241678 w 847725"/>
                <a:gd name="connsiteY54" fmla="*/ 181668 h 628650"/>
                <a:gd name="connsiteX55" fmla="*/ 279723 w 847725"/>
                <a:gd name="connsiteY55" fmla="*/ 187197 h 628650"/>
                <a:gd name="connsiteX56" fmla="*/ 285199 w 847725"/>
                <a:gd name="connsiteY56" fmla="*/ 191812 h 628650"/>
                <a:gd name="connsiteX57" fmla="*/ 283481 w 847725"/>
                <a:gd name="connsiteY57" fmla="*/ 198759 h 628650"/>
                <a:gd name="connsiteX58" fmla="*/ 255951 w 847725"/>
                <a:gd name="connsiteY58" fmla="*/ 225597 h 628650"/>
                <a:gd name="connsiteX59" fmla="*/ 262450 w 847725"/>
                <a:gd name="connsiteY59" fmla="*/ 263493 h 628650"/>
                <a:gd name="connsiteX60" fmla="*/ 259752 w 847725"/>
                <a:gd name="connsiteY60" fmla="*/ 270121 h 628650"/>
                <a:gd name="connsiteX61" fmla="*/ 255766 w 847725"/>
                <a:gd name="connsiteY61" fmla="*/ 271419 h 628650"/>
                <a:gd name="connsiteX62" fmla="*/ 252610 w 847725"/>
                <a:gd name="connsiteY62" fmla="*/ 270638 h 628650"/>
                <a:gd name="connsiteX63" fmla="*/ 218581 w 847725"/>
                <a:gd name="connsiteY63" fmla="*/ 252746 h 628650"/>
                <a:gd name="connsiteX64" fmla="*/ 184552 w 847725"/>
                <a:gd name="connsiteY64" fmla="*/ 270638 h 628650"/>
                <a:gd name="connsiteX65" fmla="*/ 177410 w 847725"/>
                <a:gd name="connsiteY65" fmla="*/ 270121 h 628650"/>
                <a:gd name="connsiteX66" fmla="*/ 174712 w 847725"/>
                <a:gd name="connsiteY66" fmla="*/ 263493 h 628650"/>
                <a:gd name="connsiteX67" fmla="*/ 181211 w 847725"/>
                <a:gd name="connsiteY67" fmla="*/ 225597 h 628650"/>
                <a:gd name="connsiteX68" fmla="*/ 153685 w 847725"/>
                <a:gd name="connsiteY68" fmla="*/ 198759 h 628650"/>
                <a:gd name="connsiteX69" fmla="*/ 151966 w 847725"/>
                <a:gd name="connsiteY69" fmla="*/ 191812 h 628650"/>
                <a:gd name="connsiteX70" fmla="*/ 58175 w 847725"/>
                <a:gd name="connsiteY70" fmla="*/ 315772 h 628650"/>
                <a:gd name="connsiteX71" fmla="*/ 796189 w 847725"/>
                <a:gd name="connsiteY71" fmla="*/ 315772 h 628650"/>
                <a:gd name="connsiteX72" fmla="*/ 802971 w 847725"/>
                <a:gd name="connsiteY72" fmla="*/ 322553 h 628650"/>
                <a:gd name="connsiteX73" fmla="*/ 796189 w 847725"/>
                <a:gd name="connsiteY73" fmla="*/ 329334 h 628650"/>
                <a:gd name="connsiteX74" fmla="*/ 58175 w 847725"/>
                <a:gd name="connsiteY74" fmla="*/ 329334 h 628650"/>
                <a:gd name="connsiteX75" fmla="*/ 51395 w 847725"/>
                <a:gd name="connsiteY75" fmla="*/ 322553 h 628650"/>
                <a:gd name="connsiteX76" fmla="*/ 58175 w 847725"/>
                <a:gd name="connsiteY76" fmla="*/ 315772 h 628650"/>
                <a:gd name="connsiteX77" fmla="*/ 58175 w 847725"/>
                <a:gd name="connsiteY77" fmla="*/ 395445 h 628650"/>
                <a:gd name="connsiteX78" fmla="*/ 796189 w 847725"/>
                <a:gd name="connsiteY78" fmla="*/ 395445 h 628650"/>
                <a:gd name="connsiteX79" fmla="*/ 802971 w 847725"/>
                <a:gd name="connsiteY79" fmla="*/ 402227 h 628650"/>
                <a:gd name="connsiteX80" fmla="*/ 796189 w 847725"/>
                <a:gd name="connsiteY80" fmla="*/ 409010 h 628650"/>
                <a:gd name="connsiteX81" fmla="*/ 58175 w 847725"/>
                <a:gd name="connsiteY81" fmla="*/ 409010 h 628650"/>
                <a:gd name="connsiteX82" fmla="*/ 51395 w 847725"/>
                <a:gd name="connsiteY82" fmla="*/ 402227 h 628650"/>
                <a:gd name="connsiteX83" fmla="*/ 58175 w 847725"/>
                <a:gd name="connsiteY83" fmla="*/ 395445 h 628650"/>
                <a:gd name="connsiteX84" fmla="*/ 58175 w 847725"/>
                <a:gd name="connsiteY84" fmla="*/ 475120 h 628650"/>
                <a:gd name="connsiteX85" fmla="*/ 796189 w 847725"/>
                <a:gd name="connsiteY85" fmla="*/ 475120 h 628650"/>
                <a:gd name="connsiteX86" fmla="*/ 802971 w 847725"/>
                <a:gd name="connsiteY86" fmla="*/ 481896 h 628650"/>
                <a:gd name="connsiteX87" fmla="*/ 796189 w 847725"/>
                <a:gd name="connsiteY87" fmla="*/ 488678 h 628650"/>
                <a:gd name="connsiteX88" fmla="*/ 58175 w 847725"/>
                <a:gd name="connsiteY88" fmla="*/ 488678 h 628650"/>
                <a:gd name="connsiteX89" fmla="*/ 51395 w 847725"/>
                <a:gd name="connsiteY89" fmla="*/ 481896 h 628650"/>
                <a:gd name="connsiteX90" fmla="*/ 58175 w 847725"/>
                <a:gd name="connsiteY90" fmla="*/ 475120 h 628650"/>
                <a:gd name="connsiteX91" fmla="*/ 58175 w 847725"/>
                <a:gd name="connsiteY91" fmla="*/ 554789 h 628650"/>
                <a:gd name="connsiteX92" fmla="*/ 796189 w 847725"/>
                <a:gd name="connsiteY92" fmla="*/ 554789 h 628650"/>
                <a:gd name="connsiteX93" fmla="*/ 802971 w 847725"/>
                <a:gd name="connsiteY93" fmla="*/ 561571 h 628650"/>
                <a:gd name="connsiteX94" fmla="*/ 796189 w 847725"/>
                <a:gd name="connsiteY94" fmla="*/ 568354 h 628650"/>
                <a:gd name="connsiteX95" fmla="*/ 58175 w 847725"/>
                <a:gd name="connsiteY95" fmla="*/ 568354 h 628650"/>
                <a:gd name="connsiteX96" fmla="*/ 51395 w 847725"/>
                <a:gd name="connsiteY96" fmla="*/ 561571 h 628650"/>
                <a:gd name="connsiteX97" fmla="*/ 58175 w 847725"/>
                <a:gd name="connsiteY97" fmla="*/ 554789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47725" h="628650">
                  <a:moveTo>
                    <a:pt x="0" y="602871"/>
                  </a:moveTo>
                  <a:cubicBezTo>
                    <a:pt x="0" y="618349"/>
                    <a:pt x="12595" y="630941"/>
                    <a:pt x="28073" y="630941"/>
                  </a:cubicBezTo>
                  <a:lnTo>
                    <a:pt x="826296" y="630941"/>
                  </a:lnTo>
                  <a:cubicBezTo>
                    <a:pt x="841774" y="630941"/>
                    <a:pt x="854366" y="618349"/>
                    <a:pt x="854366" y="602871"/>
                  </a:cubicBezTo>
                  <a:lnTo>
                    <a:pt x="854366" y="0"/>
                  </a:lnTo>
                  <a:lnTo>
                    <a:pt x="0" y="0"/>
                  </a:lnTo>
                  <a:lnTo>
                    <a:pt x="0" y="602871"/>
                  </a:lnTo>
                  <a:close/>
                  <a:moveTo>
                    <a:pt x="569167" y="191812"/>
                  </a:moveTo>
                  <a:cubicBezTo>
                    <a:pt x="569964" y="189356"/>
                    <a:pt x="572087" y="187568"/>
                    <a:pt x="574643" y="187197"/>
                  </a:cubicBezTo>
                  <a:lnTo>
                    <a:pt x="612688" y="181668"/>
                  </a:lnTo>
                  <a:lnTo>
                    <a:pt x="629700" y="147189"/>
                  </a:lnTo>
                  <a:cubicBezTo>
                    <a:pt x="631981" y="142553"/>
                    <a:pt x="639578" y="142553"/>
                    <a:pt x="641866" y="147189"/>
                  </a:cubicBezTo>
                  <a:lnTo>
                    <a:pt x="658881" y="181668"/>
                  </a:lnTo>
                  <a:lnTo>
                    <a:pt x="696921" y="187197"/>
                  </a:lnTo>
                  <a:cubicBezTo>
                    <a:pt x="699478" y="187568"/>
                    <a:pt x="701601" y="189356"/>
                    <a:pt x="702403" y="191812"/>
                  </a:cubicBezTo>
                  <a:cubicBezTo>
                    <a:pt x="703198" y="194263"/>
                    <a:pt x="702534" y="196958"/>
                    <a:pt x="700681" y="198759"/>
                  </a:cubicBezTo>
                  <a:lnTo>
                    <a:pt x="673149" y="225597"/>
                  </a:lnTo>
                  <a:lnTo>
                    <a:pt x="679649" y="263493"/>
                  </a:lnTo>
                  <a:cubicBezTo>
                    <a:pt x="680083" y="266036"/>
                    <a:pt x="679038" y="268605"/>
                    <a:pt x="676955" y="270121"/>
                  </a:cubicBezTo>
                  <a:cubicBezTo>
                    <a:pt x="675772" y="270982"/>
                    <a:pt x="674372" y="271419"/>
                    <a:pt x="672965" y="271419"/>
                  </a:cubicBezTo>
                  <a:cubicBezTo>
                    <a:pt x="671888" y="271419"/>
                    <a:pt x="670803" y="271161"/>
                    <a:pt x="669811" y="270638"/>
                  </a:cubicBezTo>
                  <a:lnTo>
                    <a:pt x="635780" y="252746"/>
                  </a:lnTo>
                  <a:lnTo>
                    <a:pt x="601752" y="270638"/>
                  </a:lnTo>
                  <a:cubicBezTo>
                    <a:pt x="599481" y="271843"/>
                    <a:pt x="596704" y="271644"/>
                    <a:pt x="594611" y="270121"/>
                  </a:cubicBezTo>
                  <a:cubicBezTo>
                    <a:pt x="592525" y="268605"/>
                    <a:pt x="591479" y="266036"/>
                    <a:pt x="591913" y="263493"/>
                  </a:cubicBezTo>
                  <a:lnTo>
                    <a:pt x="598412" y="225597"/>
                  </a:lnTo>
                  <a:lnTo>
                    <a:pt x="570885" y="198759"/>
                  </a:lnTo>
                  <a:cubicBezTo>
                    <a:pt x="569034" y="196958"/>
                    <a:pt x="568369" y="194263"/>
                    <a:pt x="569167" y="191812"/>
                  </a:cubicBezTo>
                  <a:close/>
                  <a:moveTo>
                    <a:pt x="324463" y="108696"/>
                  </a:moveTo>
                  <a:cubicBezTo>
                    <a:pt x="325261" y="106240"/>
                    <a:pt x="327383" y="104451"/>
                    <a:pt x="329939" y="104081"/>
                  </a:cubicBezTo>
                  <a:lnTo>
                    <a:pt x="392932" y="94930"/>
                  </a:lnTo>
                  <a:lnTo>
                    <a:pt x="421101" y="37850"/>
                  </a:lnTo>
                  <a:cubicBezTo>
                    <a:pt x="423386" y="33215"/>
                    <a:pt x="430980" y="33215"/>
                    <a:pt x="433265" y="37850"/>
                  </a:cubicBezTo>
                  <a:lnTo>
                    <a:pt x="461434" y="94930"/>
                  </a:lnTo>
                  <a:lnTo>
                    <a:pt x="524423" y="104081"/>
                  </a:lnTo>
                  <a:cubicBezTo>
                    <a:pt x="526979" y="104451"/>
                    <a:pt x="529102" y="106240"/>
                    <a:pt x="529900" y="108696"/>
                  </a:cubicBezTo>
                  <a:cubicBezTo>
                    <a:pt x="530698" y="111147"/>
                    <a:pt x="530032" y="113841"/>
                    <a:pt x="528185" y="115643"/>
                  </a:cubicBezTo>
                  <a:lnTo>
                    <a:pt x="482604" y="160074"/>
                  </a:lnTo>
                  <a:lnTo>
                    <a:pt x="493364" y="222816"/>
                  </a:lnTo>
                  <a:cubicBezTo>
                    <a:pt x="493798" y="225359"/>
                    <a:pt x="492752" y="227928"/>
                    <a:pt x="490666" y="229444"/>
                  </a:cubicBezTo>
                  <a:cubicBezTo>
                    <a:pt x="489484" y="230305"/>
                    <a:pt x="488083" y="230742"/>
                    <a:pt x="486680" y="230742"/>
                  </a:cubicBezTo>
                  <a:cubicBezTo>
                    <a:pt x="485600" y="230742"/>
                    <a:pt x="484517" y="230484"/>
                    <a:pt x="483524" y="229960"/>
                  </a:cubicBezTo>
                  <a:lnTo>
                    <a:pt x="427183" y="200341"/>
                  </a:lnTo>
                  <a:lnTo>
                    <a:pt x="370842" y="229960"/>
                  </a:lnTo>
                  <a:cubicBezTo>
                    <a:pt x="368564" y="231172"/>
                    <a:pt x="365793" y="230974"/>
                    <a:pt x="363700" y="229444"/>
                  </a:cubicBezTo>
                  <a:cubicBezTo>
                    <a:pt x="361614" y="227928"/>
                    <a:pt x="360568" y="225359"/>
                    <a:pt x="361002" y="222816"/>
                  </a:cubicBezTo>
                  <a:lnTo>
                    <a:pt x="371762" y="160081"/>
                  </a:lnTo>
                  <a:lnTo>
                    <a:pt x="326178" y="115643"/>
                  </a:lnTo>
                  <a:cubicBezTo>
                    <a:pt x="324331" y="113841"/>
                    <a:pt x="323665" y="111147"/>
                    <a:pt x="324463" y="108696"/>
                  </a:cubicBezTo>
                  <a:close/>
                  <a:moveTo>
                    <a:pt x="151966" y="191812"/>
                  </a:moveTo>
                  <a:cubicBezTo>
                    <a:pt x="152764" y="189356"/>
                    <a:pt x="154886" y="187568"/>
                    <a:pt x="157442" y="187197"/>
                  </a:cubicBezTo>
                  <a:lnTo>
                    <a:pt x="195488" y="181668"/>
                  </a:lnTo>
                  <a:lnTo>
                    <a:pt x="212499" y="147189"/>
                  </a:lnTo>
                  <a:cubicBezTo>
                    <a:pt x="214784" y="142553"/>
                    <a:pt x="222379" y="142553"/>
                    <a:pt x="224663" y="147189"/>
                  </a:cubicBezTo>
                  <a:lnTo>
                    <a:pt x="241678" y="181668"/>
                  </a:lnTo>
                  <a:lnTo>
                    <a:pt x="279723" y="187197"/>
                  </a:lnTo>
                  <a:cubicBezTo>
                    <a:pt x="282279" y="187568"/>
                    <a:pt x="284402" y="189356"/>
                    <a:pt x="285199" y="191812"/>
                  </a:cubicBezTo>
                  <a:cubicBezTo>
                    <a:pt x="285997" y="194263"/>
                    <a:pt x="285331" y="196958"/>
                    <a:pt x="283481" y="198759"/>
                  </a:cubicBezTo>
                  <a:lnTo>
                    <a:pt x="255951" y="225597"/>
                  </a:lnTo>
                  <a:lnTo>
                    <a:pt x="262450" y="263493"/>
                  </a:lnTo>
                  <a:cubicBezTo>
                    <a:pt x="262884" y="266036"/>
                    <a:pt x="261838" y="268605"/>
                    <a:pt x="259752" y="270121"/>
                  </a:cubicBezTo>
                  <a:cubicBezTo>
                    <a:pt x="258570" y="270982"/>
                    <a:pt x="257169" y="271419"/>
                    <a:pt x="255766" y="271419"/>
                  </a:cubicBezTo>
                  <a:cubicBezTo>
                    <a:pt x="254686" y="271419"/>
                    <a:pt x="253603" y="271161"/>
                    <a:pt x="252610" y="270638"/>
                  </a:cubicBezTo>
                  <a:lnTo>
                    <a:pt x="218581" y="252746"/>
                  </a:lnTo>
                  <a:lnTo>
                    <a:pt x="184552" y="270638"/>
                  </a:lnTo>
                  <a:cubicBezTo>
                    <a:pt x="182281" y="271843"/>
                    <a:pt x="179509" y="271644"/>
                    <a:pt x="177410" y="270121"/>
                  </a:cubicBezTo>
                  <a:cubicBezTo>
                    <a:pt x="175324" y="268605"/>
                    <a:pt x="174278" y="266036"/>
                    <a:pt x="174712" y="263493"/>
                  </a:cubicBezTo>
                  <a:lnTo>
                    <a:pt x="181211" y="225597"/>
                  </a:lnTo>
                  <a:lnTo>
                    <a:pt x="153685" y="198759"/>
                  </a:lnTo>
                  <a:cubicBezTo>
                    <a:pt x="151833" y="196958"/>
                    <a:pt x="151168" y="194263"/>
                    <a:pt x="151966" y="191812"/>
                  </a:cubicBezTo>
                  <a:close/>
                  <a:moveTo>
                    <a:pt x="58175" y="315772"/>
                  </a:moveTo>
                  <a:lnTo>
                    <a:pt x="796189" y="315772"/>
                  </a:lnTo>
                  <a:cubicBezTo>
                    <a:pt x="799935" y="315772"/>
                    <a:pt x="802971" y="318805"/>
                    <a:pt x="802971" y="322553"/>
                  </a:cubicBezTo>
                  <a:cubicBezTo>
                    <a:pt x="802971" y="326300"/>
                    <a:pt x="799935" y="329334"/>
                    <a:pt x="796189" y="329334"/>
                  </a:cubicBezTo>
                  <a:lnTo>
                    <a:pt x="58175" y="329334"/>
                  </a:lnTo>
                  <a:cubicBezTo>
                    <a:pt x="54431" y="329334"/>
                    <a:pt x="51395" y="326300"/>
                    <a:pt x="51395" y="322553"/>
                  </a:cubicBezTo>
                  <a:cubicBezTo>
                    <a:pt x="51395" y="318805"/>
                    <a:pt x="54431" y="315772"/>
                    <a:pt x="58175" y="315772"/>
                  </a:cubicBezTo>
                  <a:close/>
                  <a:moveTo>
                    <a:pt x="58175" y="395445"/>
                  </a:moveTo>
                  <a:lnTo>
                    <a:pt x="796189" y="395445"/>
                  </a:lnTo>
                  <a:cubicBezTo>
                    <a:pt x="799935" y="395445"/>
                    <a:pt x="802971" y="398478"/>
                    <a:pt x="802971" y="402227"/>
                  </a:cubicBezTo>
                  <a:cubicBezTo>
                    <a:pt x="802971" y="405973"/>
                    <a:pt x="799935" y="409010"/>
                    <a:pt x="796189" y="409010"/>
                  </a:cubicBezTo>
                  <a:lnTo>
                    <a:pt x="58175" y="409010"/>
                  </a:lnTo>
                  <a:cubicBezTo>
                    <a:pt x="54431" y="409010"/>
                    <a:pt x="51395" y="405973"/>
                    <a:pt x="51395" y="402227"/>
                  </a:cubicBezTo>
                  <a:cubicBezTo>
                    <a:pt x="51395" y="398478"/>
                    <a:pt x="54431" y="395445"/>
                    <a:pt x="58175" y="395445"/>
                  </a:cubicBezTo>
                  <a:close/>
                  <a:moveTo>
                    <a:pt x="58175" y="475120"/>
                  </a:moveTo>
                  <a:lnTo>
                    <a:pt x="796189" y="475120"/>
                  </a:lnTo>
                  <a:cubicBezTo>
                    <a:pt x="799935" y="475120"/>
                    <a:pt x="802971" y="478150"/>
                    <a:pt x="802971" y="481896"/>
                  </a:cubicBezTo>
                  <a:cubicBezTo>
                    <a:pt x="802971" y="485649"/>
                    <a:pt x="799935" y="488678"/>
                    <a:pt x="796189" y="488678"/>
                  </a:cubicBezTo>
                  <a:lnTo>
                    <a:pt x="58175" y="488678"/>
                  </a:lnTo>
                  <a:cubicBezTo>
                    <a:pt x="54431" y="488678"/>
                    <a:pt x="51395" y="485649"/>
                    <a:pt x="51395" y="481896"/>
                  </a:cubicBezTo>
                  <a:cubicBezTo>
                    <a:pt x="51395" y="478150"/>
                    <a:pt x="54431" y="475120"/>
                    <a:pt x="58175" y="475120"/>
                  </a:cubicBezTo>
                  <a:close/>
                  <a:moveTo>
                    <a:pt x="58175" y="554789"/>
                  </a:moveTo>
                  <a:lnTo>
                    <a:pt x="796189" y="554789"/>
                  </a:lnTo>
                  <a:cubicBezTo>
                    <a:pt x="799935" y="554789"/>
                    <a:pt x="802971" y="557825"/>
                    <a:pt x="802971" y="561571"/>
                  </a:cubicBezTo>
                  <a:cubicBezTo>
                    <a:pt x="802971" y="565317"/>
                    <a:pt x="799935" y="568354"/>
                    <a:pt x="796189" y="568354"/>
                  </a:cubicBezTo>
                  <a:lnTo>
                    <a:pt x="58175" y="568354"/>
                  </a:lnTo>
                  <a:cubicBezTo>
                    <a:pt x="54431" y="568354"/>
                    <a:pt x="51395" y="565317"/>
                    <a:pt x="51395" y="561571"/>
                  </a:cubicBezTo>
                  <a:cubicBezTo>
                    <a:pt x="51395" y="557825"/>
                    <a:pt x="54431" y="554789"/>
                    <a:pt x="58175" y="554789"/>
                  </a:cubicBezTo>
                  <a:close/>
                </a:path>
              </a:pathLst>
            </a:custGeom>
            <a:solidFill>
              <a:schemeClr val="accent4"/>
            </a:solidFill>
            <a:ln w="6572" cap="flat">
              <a:noFill/>
              <a:prstDash val="solid"/>
              <a:miter/>
            </a:ln>
          </p:spPr>
          <p:txBody>
            <a:bodyPr rtlCol="0" anchor="ctr"/>
            <a:lstStyle/>
            <a:p>
              <a:endParaRPr lang="en-US"/>
            </a:p>
          </p:txBody>
        </p:sp>
      </p:grpSp>
      <p:cxnSp>
        <p:nvCxnSpPr>
          <p:cNvPr id="105" name="Straight Connector 104">
            <a:extLst>
              <a:ext uri="{FF2B5EF4-FFF2-40B4-BE49-F238E27FC236}">
                <a16:creationId xmlns:a16="http://schemas.microsoft.com/office/drawing/2014/main" id="{659FEA74-C3DC-4508-BE4F-3AF4CD4B39B4}"/>
              </a:ext>
            </a:extLst>
          </p:cNvPr>
          <p:cNvCxnSpPr>
            <a:cxnSpLocks/>
          </p:cNvCxnSpPr>
          <p:nvPr/>
        </p:nvCxnSpPr>
        <p:spPr>
          <a:xfrm>
            <a:off x="457200" y="4813186"/>
            <a:ext cx="5664073" cy="0"/>
          </a:xfrm>
          <a:prstGeom prst="line">
            <a:avLst/>
          </a:prstGeom>
          <a:noFill/>
          <a:ln w="3175">
            <a:solidFill>
              <a:schemeClr val="bg1">
                <a:lumMod val="85000"/>
              </a:schemeClr>
            </a:solidFill>
            <a:prstDash val="dash"/>
          </a:ln>
        </p:spPr>
      </p:cxnSp>
      <p:grpSp>
        <p:nvGrpSpPr>
          <p:cNvPr id="108" name="Group 107">
            <a:extLst>
              <a:ext uri="{FF2B5EF4-FFF2-40B4-BE49-F238E27FC236}">
                <a16:creationId xmlns:a16="http://schemas.microsoft.com/office/drawing/2014/main" id="{1968FCB1-4939-4B68-8DC9-516AB0B3F2DD}"/>
              </a:ext>
            </a:extLst>
          </p:cNvPr>
          <p:cNvGrpSpPr/>
          <p:nvPr/>
        </p:nvGrpSpPr>
        <p:grpSpPr>
          <a:xfrm>
            <a:off x="506805" y="4846757"/>
            <a:ext cx="5613527" cy="522386"/>
            <a:chOff x="506805" y="5407363"/>
            <a:chExt cx="5613527" cy="522386"/>
          </a:xfrm>
        </p:grpSpPr>
        <p:sp>
          <p:nvSpPr>
            <p:cNvPr id="109" name="Rectangle 108">
              <a:extLst>
                <a:ext uri="{FF2B5EF4-FFF2-40B4-BE49-F238E27FC236}">
                  <a16:creationId xmlns:a16="http://schemas.microsoft.com/office/drawing/2014/main" id="{3E4DFA63-3F0D-487B-A03F-3BEC2E1DBE83}"/>
                </a:ext>
              </a:extLst>
            </p:cNvPr>
            <p:cNvSpPr/>
            <p:nvPr/>
          </p:nvSpPr>
          <p:spPr>
            <a:xfrm>
              <a:off x="506805" y="54073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r>
                <a:rPr lang="en-US" sz="1600">
                  <a:solidFill>
                    <a:schemeClr val="tx1"/>
                  </a:solidFill>
                </a:rPr>
                <a:t>Management, monitoring, and auditing</a:t>
              </a:r>
              <a:endParaRPr lang="en-US" sz="1600">
                <a:solidFill>
                  <a:schemeClr val="tx1"/>
                </a:solidFill>
                <a:cs typeface="Segoe UI"/>
              </a:endParaRPr>
            </a:p>
          </p:txBody>
        </p:sp>
        <p:grpSp>
          <p:nvGrpSpPr>
            <p:cNvPr id="110" name="Group 109">
              <a:extLst>
                <a:ext uri="{FF2B5EF4-FFF2-40B4-BE49-F238E27FC236}">
                  <a16:creationId xmlns:a16="http://schemas.microsoft.com/office/drawing/2014/main" id="{D7AF8044-6ECB-4939-9222-5609599E7C63}"/>
                </a:ext>
              </a:extLst>
            </p:cNvPr>
            <p:cNvGrpSpPr/>
            <p:nvPr/>
          </p:nvGrpSpPr>
          <p:grpSpPr>
            <a:xfrm>
              <a:off x="730757" y="5505500"/>
              <a:ext cx="326112" cy="326112"/>
              <a:chOff x="115497" y="1864737"/>
              <a:chExt cx="461744" cy="461744"/>
            </a:xfrm>
            <a:solidFill>
              <a:schemeClr val="tx2"/>
            </a:solidFill>
          </p:grpSpPr>
          <p:sp>
            <p:nvSpPr>
              <p:cNvPr id="111" name="Freeform: Shape 110">
                <a:extLst>
                  <a:ext uri="{FF2B5EF4-FFF2-40B4-BE49-F238E27FC236}">
                    <a16:creationId xmlns:a16="http://schemas.microsoft.com/office/drawing/2014/main" id="{82885EBC-15AB-4C6C-B918-86D23BF5CC9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2" name="Graphic 77">
                <a:extLst>
                  <a:ext uri="{FF2B5EF4-FFF2-40B4-BE49-F238E27FC236}">
                    <a16:creationId xmlns:a16="http://schemas.microsoft.com/office/drawing/2014/main" id="{FF55BADD-5681-4A71-BB66-099FE1C51AC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3" name="Rectangle 2">
            <a:extLst>
              <a:ext uri="{FF2B5EF4-FFF2-40B4-BE49-F238E27FC236}">
                <a16:creationId xmlns:a16="http://schemas.microsoft.com/office/drawing/2014/main" id="{AC4A72DC-5E6C-4E8C-8148-933FB41CA625}"/>
              </a:ext>
            </a:extLst>
          </p:cNvPr>
          <p:cNvSpPr/>
          <p:nvPr/>
        </p:nvSpPr>
        <p:spPr>
          <a:xfrm>
            <a:off x="6127007" y="3691329"/>
            <a:ext cx="5613527" cy="1325055"/>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defTabSz="932597"/>
            <a:r>
              <a:rPr lang="en-US" sz="1600">
                <a:solidFill>
                  <a:schemeClr val="tx1"/>
                </a:solidFill>
              </a:rPr>
              <a:t>The Security Strategy workshop is designed to look at the overall approach to system security and to help ensure the approach is aligned with recommended practices.</a:t>
            </a:r>
          </a:p>
        </p:txBody>
      </p:sp>
      <p:sp>
        <p:nvSpPr>
          <p:cNvPr id="4" name="Rectangle 3">
            <a:extLst>
              <a:ext uri="{FF2B5EF4-FFF2-40B4-BE49-F238E27FC236}">
                <a16:creationId xmlns:a16="http://schemas.microsoft.com/office/drawing/2014/main" id="{3E12CF18-F8F2-4922-9567-E9E48B103A20}"/>
              </a:ext>
            </a:extLst>
          </p:cNvPr>
          <p:cNvSpPr/>
          <p:nvPr/>
        </p:nvSpPr>
        <p:spPr>
          <a:xfrm>
            <a:off x="6120332" y="3520456"/>
            <a:ext cx="5613527" cy="1632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endParaRPr lang="en-US" sz="1600">
              <a:solidFill>
                <a:schemeClr val="bg1"/>
              </a:solidFill>
              <a:latin typeface="+mj-lt"/>
            </a:endParaRPr>
          </a:p>
        </p:txBody>
      </p:sp>
      <p:sp>
        <p:nvSpPr>
          <p:cNvPr id="5" name="Rectangle 6">
            <a:extLst>
              <a:ext uri="{FF2B5EF4-FFF2-40B4-BE49-F238E27FC236}">
                <a16:creationId xmlns:a16="http://schemas.microsoft.com/office/drawing/2014/main" id="{25F2B421-9BE4-413A-803D-5B521689670A}"/>
              </a:ext>
            </a:extLst>
          </p:cNvPr>
          <p:cNvSpPr/>
          <p:nvPr/>
        </p:nvSpPr>
        <p:spPr bwMode="auto">
          <a:xfrm>
            <a:off x="7243038" y="5035842"/>
            <a:ext cx="4543299" cy="1662154"/>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defTabSz="878102" fontAlgn="base">
              <a:spcBef>
                <a:spcPts val="600"/>
              </a:spcBef>
              <a:spcAft>
                <a:spcPts val="600"/>
              </a:spcAft>
              <a:defRPr/>
            </a:pPr>
            <a:r>
              <a:rPr lang="en-US" sz="1600" kern="0">
                <a:solidFill>
                  <a:schemeClr val="tx2"/>
                </a:solidFill>
                <a:latin typeface="+mj-lt"/>
                <a:ea typeface="Segoe UI" pitchFamily="34" charset="0"/>
                <a:cs typeface="Segoe UI" pitchFamily="34" charset="0"/>
              </a:rPr>
              <a:t>Format: </a:t>
            </a:r>
            <a:r>
              <a:rPr lang="en-US" sz="1600" kern="0">
                <a:highlight>
                  <a:srgbClr val="00FF00"/>
                </a:highlight>
                <a:cs typeface="Segoe UI" pitchFamily="34" charset="0"/>
              </a:rPr>
              <a:t>9</a:t>
            </a:r>
            <a:r>
              <a:rPr lang="en-US" sz="1600" kern="0">
                <a:highlight>
                  <a:srgbClr val="00FF00"/>
                </a:highlight>
                <a:ea typeface="Segoe UI" pitchFamily="34" charset="0"/>
                <a:cs typeface="Segoe UI" pitchFamily="34" charset="0"/>
              </a:rPr>
              <a:t>0-120</a:t>
            </a:r>
            <a:r>
              <a:rPr lang="en-US" sz="1600" kern="0">
                <a:ea typeface="Segoe UI" pitchFamily="34" charset="0"/>
                <a:cs typeface="Segoe UI" pitchFamily="34" charset="0"/>
              </a:rPr>
              <a:t>-minute Microsoft Teams call</a:t>
            </a:r>
          </a:p>
          <a:p>
            <a:pPr defTabSz="878102" fontAlgn="base">
              <a:spcBef>
                <a:spcPts val="600"/>
              </a:spcBef>
              <a:spcAft>
                <a:spcPts val="600"/>
              </a:spcAft>
              <a:defRPr/>
            </a:pPr>
            <a:r>
              <a:rPr lang="en-US" sz="1600" kern="0">
                <a:solidFill>
                  <a:schemeClr val="tx2"/>
                </a:solidFill>
                <a:latin typeface="+mj-lt"/>
                <a:ea typeface="Segoe UI" pitchFamily="34" charset="0"/>
                <a:cs typeface="Segoe UI" pitchFamily="34" charset="0"/>
              </a:rPr>
              <a:t>Attendees: </a:t>
            </a:r>
            <a:r>
              <a:rPr lang="en-US" sz="1600" kern="0">
                <a:ea typeface="Segoe UI" pitchFamily="34" charset="0"/>
                <a:cs typeface="Segoe UI" pitchFamily="34" charset="0"/>
              </a:rPr>
              <a:t>Key stakeholders from the customer and partner teams. </a:t>
            </a:r>
          </a:p>
          <a:p>
            <a:pPr defTabSz="878102" fontAlgn="base">
              <a:spcBef>
                <a:spcPts val="600"/>
              </a:spcBef>
              <a:spcAft>
                <a:spcPts val="600"/>
              </a:spcAft>
              <a:defRPr/>
            </a:pPr>
            <a:r>
              <a:rPr lang="en-US" sz="1600" kern="0">
                <a:ea typeface="Segoe UI" pitchFamily="34" charset="0"/>
                <a:cs typeface="Segoe UI"/>
              </a:rPr>
              <a:t>Project Managers, Solution Architects, functional and technical leads are mandatory</a:t>
            </a:r>
          </a:p>
        </p:txBody>
      </p:sp>
      <p:sp>
        <p:nvSpPr>
          <p:cNvPr id="6" name="Rectangle: Rounded Corners 12">
            <a:extLst>
              <a:ext uri="{FF2B5EF4-FFF2-40B4-BE49-F238E27FC236}">
                <a16:creationId xmlns:a16="http://schemas.microsoft.com/office/drawing/2014/main" id="{1E0D206A-5ADD-4B31-9AA3-70C7E25C9D13}"/>
              </a:ext>
            </a:extLst>
          </p:cNvPr>
          <p:cNvSpPr/>
          <p:nvPr/>
        </p:nvSpPr>
        <p:spPr>
          <a:xfrm>
            <a:off x="6129801" y="5083674"/>
            <a:ext cx="105306" cy="911078"/>
          </a:xfrm>
          <a:custGeom>
            <a:avLst/>
            <a:gdLst>
              <a:gd name="connsiteX0" fmla="*/ 0 w 301482"/>
              <a:gd name="connsiteY0" fmla="*/ 150741 h 1304170"/>
              <a:gd name="connsiteX1" fmla="*/ 150741 w 301482"/>
              <a:gd name="connsiteY1" fmla="*/ 0 h 1304170"/>
              <a:gd name="connsiteX2" fmla="*/ 150741 w 301482"/>
              <a:gd name="connsiteY2" fmla="*/ 0 h 1304170"/>
              <a:gd name="connsiteX3" fmla="*/ 301482 w 301482"/>
              <a:gd name="connsiteY3" fmla="*/ 150741 h 1304170"/>
              <a:gd name="connsiteX4" fmla="*/ 301482 w 301482"/>
              <a:gd name="connsiteY4" fmla="*/ 1153429 h 1304170"/>
              <a:gd name="connsiteX5" fmla="*/ 150741 w 301482"/>
              <a:gd name="connsiteY5" fmla="*/ 1304170 h 1304170"/>
              <a:gd name="connsiteX6" fmla="*/ 150741 w 301482"/>
              <a:gd name="connsiteY6" fmla="*/ 1304170 h 1304170"/>
              <a:gd name="connsiteX7" fmla="*/ 0 w 301482"/>
              <a:gd name="connsiteY7" fmla="*/ 1153429 h 1304170"/>
              <a:gd name="connsiteX8" fmla="*/ 0 w 301482"/>
              <a:gd name="connsiteY8"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8" fmla="*/ 242181 w 301482"/>
              <a:gd name="connsiteY8" fmla="*/ 9144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0" fmla="*/ 0 w 150741"/>
              <a:gd name="connsiteY0" fmla="*/ 0 h 1304170"/>
              <a:gd name="connsiteX1" fmla="*/ 150741 w 150741"/>
              <a:gd name="connsiteY1" fmla="*/ 150741 h 1304170"/>
              <a:gd name="connsiteX2" fmla="*/ 150741 w 150741"/>
              <a:gd name="connsiteY2" fmla="*/ 1153429 h 1304170"/>
              <a:gd name="connsiteX3" fmla="*/ 0 w 150741"/>
              <a:gd name="connsiteY3" fmla="*/ 1304170 h 1304170"/>
              <a:gd name="connsiteX4" fmla="*/ 0 w 150741"/>
              <a:gd name="connsiteY4" fmla="*/ 1304170 h 130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41" h="1304170">
                <a:moveTo>
                  <a:pt x="0" y="0"/>
                </a:moveTo>
                <a:cubicBezTo>
                  <a:pt x="83252" y="0"/>
                  <a:pt x="150741" y="67489"/>
                  <a:pt x="150741" y="150741"/>
                </a:cubicBezTo>
                <a:lnTo>
                  <a:pt x="150741" y="1153429"/>
                </a:lnTo>
                <a:cubicBezTo>
                  <a:pt x="150741" y="1236681"/>
                  <a:pt x="83252" y="1304170"/>
                  <a:pt x="0" y="1304170"/>
                </a:cubicBezTo>
                <a:lnTo>
                  <a:pt x="0" y="1304170"/>
                </a:lnTo>
              </a:path>
            </a:pathLst>
          </a:custGeom>
          <a:solidFill>
            <a:schemeClr val="accent1"/>
          </a:solidFill>
        </p:spPr>
        <p:txBody>
          <a:bodyPr wrap="square" lIns="0" tIns="0" rIns="0" bIns="0" rtlCol="0" anchor="ctr">
            <a:noAutofit/>
          </a:bodyPr>
          <a:lstStyle/>
          <a:p>
            <a:pPr algn="ctr"/>
            <a:endParaRPr lang="en-US" sz="1765">
              <a:latin typeface="Segoe UI"/>
            </a:endParaRPr>
          </a:p>
        </p:txBody>
      </p:sp>
      <p:grpSp>
        <p:nvGrpSpPr>
          <p:cNvPr id="107" name="Group 106">
            <a:extLst>
              <a:ext uri="{FF2B5EF4-FFF2-40B4-BE49-F238E27FC236}">
                <a16:creationId xmlns:a16="http://schemas.microsoft.com/office/drawing/2014/main" id="{37CA9E8F-2934-470D-90D2-46339AAD1AE5}"/>
              </a:ext>
            </a:extLst>
          </p:cNvPr>
          <p:cNvGrpSpPr/>
          <p:nvPr/>
        </p:nvGrpSpPr>
        <p:grpSpPr>
          <a:xfrm>
            <a:off x="6432342" y="5182569"/>
            <a:ext cx="809756" cy="809754"/>
            <a:chOff x="6456428" y="2720976"/>
            <a:chExt cx="917704" cy="917702"/>
          </a:xfrm>
        </p:grpSpPr>
        <p:sp>
          <p:nvSpPr>
            <p:cNvPr id="113" name="Freeform: Shape 112">
              <a:extLst>
                <a:ext uri="{FF2B5EF4-FFF2-40B4-BE49-F238E27FC236}">
                  <a16:creationId xmlns:a16="http://schemas.microsoft.com/office/drawing/2014/main" id="{5E6718CF-EF9F-4C2C-9754-6B9681993E7C}"/>
                </a:ext>
              </a:extLst>
            </p:cNvPr>
            <p:cNvSpPr/>
            <p:nvPr/>
          </p:nvSpPr>
          <p:spPr bwMode="auto">
            <a:xfrm>
              <a:off x="6456428" y="2720976"/>
              <a:ext cx="917704" cy="917702"/>
            </a:xfrm>
            <a:custGeom>
              <a:avLst/>
              <a:gdLst>
                <a:gd name="connsiteX0" fmla="*/ 458852 w 917704"/>
                <a:gd name="connsiteY0" fmla="*/ 33532 h 917702"/>
                <a:gd name="connsiteX1" fmla="*/ 33532 w 917704"/>
                <a:gd name="connsiteY1" fmla="*/ 458851 h 917702"/>
                <a:gd name="connsiteX2" fmla="*/ 458852 w 917704"/>
                <a:gd name="connsiteY2" fmla="*/ 884170 h 917702"/>
                <a:gd name="connsiteX3" fmla="*/ 884172 w 917704"/>
                <a:gd name="connsiteY3" fmla="*/ 458851 h 917702"/>
                <a:gd name="connsiteX4" fmla="*/ 458852 w 917704"/>
                <a:gd name="connsiteY4" fmla="*/ 33532 h 917702"/>
                <a:gd name="connsiteX5" fmla="*/ 458852 w 917704"/>
                <a:gd name="connsiteY5" fmla="*/ 0 h 917702"/>
                <a:gd name="connsiteX6" fmla="*/ 917704 w 917704"/>
                <a:gd name="connsiteY6" fmla="*/ 458851 h 917702"/>
                <a:gd name="connsiteX7" fmla="*/ 458852 w 917704"/>
                <a:gd name="connsiteY7" fmla="*/ 917702 h 917702"/>
                <a:gd name="connsiteX8" fmla="*/ 0 w 917704"/>
                <a:gd name="connsiteY8" fmla="*/ 458851 h 917702"/>
                <a:gd name="connsiteX9" fmla="*/ 458852 w 917704"/>
                <a:gd name="connsiteY9" fmla="*/ 0 h 91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04" h="917702">
                  <a:moveTo>
                    <a:pt x="458852" y="33532"/>
                  </a:moveTo>
                  <a:cubicBezTo>
                    <a:pt x="223954" y="33532"/>
                    <a:pt x="33532" y="223954"/>
                    <a:pt x="33532" y="458851"/>
                  </a:cubicBezTo>
                  <a:cubicBezTo>
                    <a:pt x="33532" y="693748"/>
                    <a:pt x="223954" y="884170"/>
                    <a:pt x="458852" y="884170"/>
                  </a:cubicBezTo>
                  <a:cubicBezTo>
                    <a:pt x="693750" y="884170"/>
                    <a:pt x="884172" y="693748"/>
                    <a:pt x="884172" y="458851"/>
                  </a:cubicBezTo>
                  <a:cubicBezTo>
                    <a:pt x="884172" y="223954"/>
                    <a:pt x="693750" y="33532"/>
                    <a:pt x="458852" y="33532"/>
                  </a:cubicBezTo>
                  <a:close/>
                  <a:moveTo>
                    <a:pt x="458852" y="0"/>
                  </a:moveTo>
                  <a:cubicBezTo>
                    <a:pt x="712269" y="0"/>
                    <a:pt x="917704" y="205435"/>
                    <a:pt x="917704" y="458851"/>
                  </a:cubicBezTo>
                  <a:cubicBezTo>
                    <a:pt x="917704" y="712267"/>
                    <a:pt x="712269" y="917702"/>
                    <a:pt x="458852" y="917702"/>
                  </a:cubicBezTo>
                  <a:cubicBezTo>
                    <a:pt x="205435" y="917702"/>
                    <a:pt x="0" y="712267"/>
                    <a:pt x="0" y="458851"/>
                  </a:cubicBezTo>
                  <a:cubicBezTo>
                    <a:pt x="0" y="205435"/>
                    <a:pt x="205435" y="0"/>
                    <a:pt x="45885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4" name="Freeform 8">
              <a:extLst>
                <a:ext uri="{FF2B5EF4-FFF2-40B4-BE49-F238E27FC236}">
                  <a16:creationId xmlns:a16="http://schemas.microsoft.com/office/drawing/2014/main" id="{C01BE55D-D5D6-4A29-AB40-5AFC7BC9378D}"/>
                </a:ext>
              </a:extLst>
            </p:cNvPr>
            <p:cNvSpPr>
              <a:spLocks/>
            </p:cNvSpPr>
            <p:nvPr/>
          </p:nvSpPr>
          <p:spPr bwMode="auto">
            <a:xfrm rot="10800000" flipH="1">
              <a:off x="6678730" y="3009901"/>
              <a:ext cx="473100" cy="339852"/>
            </a:xfrm>
            <a:custGeom>
              <a:avLst/>
              <a:gdLst>
                <a:gd name="T0" fmla="*/ 85 w 231"/>
                <a:gd name="T1" fmla="*/ 0 h 170"/>
                <a:gd name="T2" fmla="*/ 152 w 231"/>
                <a:gd name="T3" fmla="*/ 61 h 170"/>
                <a:gd name="T4" fmla="*/ 0 w 231"/>
                <a:gd name="T5" fmla="*/ 61 h 170"/>
                <a:gd name="T6" fmla="*/ 0 w 231"/>
                <a:gd name="T7" fmla="*/ 105 h 170"/>
                <a:gd name="T8" fmla="*/ 152 w 231"/>
                <a:gd name="T9" fmla="*/ 105 h 170"/>
                <a:gd name="T10" fmla="*/ 85 w 231"/>
                <a:gd name="T11" fmla="*/ 170 h 170"/>
                <a:gd name="T12" fmla="*/ 140 w 231"/>
                <a:gd name="T13" fmla="*/ 170 h 170"/>
                <a:gd name="T14" fmla="*/ 231 w 231"/>
                <a:gd name="T15" fmla="*/ 85 h 170"/>
                <a:gd name="T16" fmla="*/ 140 w 231"/>
                <a:gd name="T17" fmla="*/ 0 h 170"/>
                <a:gd name="T18" fmla="*/ 85 w 231"/>
                <a:gd name="T1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70">
                  <a:moveTo>
                    <a:pt x="85" y="0"/>
                  </a:moveTo>
                  <a:cubicBezTo>
                    <a:pt x="85" y="0"/>
                    <a:pt x="85" y="0"/>
                    <a:pt x="152" y="61"/>
                  </a:cubicBezTo>
                  <a:cubicBezTo>
                    <a:pt x="0" y="61"/>
                    <a:pt x="0" y="61"/>
                    <a:pt x="0" y="61"/>
                  </a:cubicBezTo>
                  <a:cubicBezTo>
                    <a:pt x="0" y="61"/>
                    <a:pt x="0" y="61"/>
                    <a:pt x="0" y="105"/>
                  </a:cubicBezTo>
                  <a:cubicBezTo>
                    <a:pt x="0" y="105"/>
                    <a:pt x="0" y="105"/>
                    <a:pt x="152" y="105"/>
                  </a:cubicBezTo>
                  <a:cubicBezTo>
                    <a:pt x="152" y="105"/>
                    <a:pt x="152" y="105"/>
                    <a:pt x="85" y="170"/>
                  </a:cubicBezTo>
                  <a:cubicBezTo>
                    <a:pt x="85" y="170"/>
                    <a:pt x="85" y="170"/>
                    <a:pt x="140" y="170"/>
                  </a:cubicBezTo>
                  <a:cubicBezTo>
                    <a:pt x="140" y="170"/>
                    <a:pt x="140" y="170"/>
                    <a:pt x="231" y="85"/>
                  </a:cubicBezTo>
                  <a:cubicBezTo>
                    <a:pt x="231" y="85"/>
                    <a:pt x="231" y="85"/>
                    <a:pt x="140" y="0"/>
                  </a:cubicBezTo>
                  <a:cubicBezTo>
                    <a:pt x="140" y="0"/>
                    <a:pt x="140" y="0"/>
                    <a:pt x="85"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7" name="Rectangle 6">
            <a:extLst>
              <a:ext uri="{FF2B5EF4-FFF2-40B4-BE49-F238E27FC236}">
                <a16:creationId xmlns:a16="http://schemas.microsoft.com/office/drawing/2014/main" id="{D9C75647-D889-4D6D-BAA2-E25037BE2A93}"/>
              </a:ext>
            </a:extLst>
          </p:cNvPr>
          <p:cNvSpPr/>
          <p:nvPr/>
        </p:nvSpPr>
        <p:spPr>
          <a:xfrm>
            <a:off x="506805" y="3086101"/>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r>
              <a:rPr lang="en-US" sz="1600">
                <a:solidFill>
                  <a:schemeClr val="tx1"/>
                </a:solidFill>
              </a:rPr>
              <a:t>Implementation (within Dynamics 365)</a:t>
            </a:r>
          </a:p>
        </p:txBody>
      </p:sp>
      <p:sp>
        <p:nvSpPr>
          <p:cNvPr id="8" name="Rectangle 7">
            <a:extLst>
              <a:ext uri="{FF2B5EF4-FFF2-40B4-BE49-F238E27FC236}">
                <a16:creationId xmlns:a16="http://schemas.microsoft.com/office/drawing/2014/main" id="{86F01C8A-BF06-4E77-A5CE-F7A45AF12A83}"/>
              </a:ext>
            </a:extLst>
          </p:cNvPr>
          <p:cNvSpPr/>
          <p:nvPr/>
        </p:nvSpPr>
        <p:spPr>
          <a:xfrm>
            <a:off x="506805" y="3652017"/>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pPr lvl="0"/>
            <a:r>
              <a:rPr lang="en-US" sz="1600">
                <a:solidFill>
                  <a:schemeClr val="tx1"/>
                </a:solidFill>
              </a:rPr>
              <a:t>Implementation (beyond Dynamics 365)</a:t>
            </a:r>
            <a:endParaRPr lang="en-US" sz="1600">
              <a:solidFill>
                <a:schemeClr val="tx1"/>
              </a:solidFill>
              <a:cs typeface="Segoe UI"/>
            </a:endParaRPr>
          </a:p>
        </p:txBody>
      </p:sp>
      <p:grpSp>
        <p:nvGrpSpPr>
          <p:cNvPr id="103" name="Group 102">
            <a:extLst>
              <a:ext uri="{FF2B5EF4-FFF2-40B4-BE49-F238E27FC236}">
                <a16:creationId xmlns:a16="http://schemas.microsoft.com/office/drawing/2014/main" id="{DEDE1CE9-3FE8-4E34-836F-7D823900B051}"/>
              </a:ext>
            </a:extLst>
          </p:cNvPr>
          <p:cNvGrpSpPr/>
          <p:nvPr/>
        </p:nvGrpSpPr>
        <p:grpSpPr>
          <a:xfrm>
            <a:off x="6120332" y="1889461"/>
            <a:ext cx="5613527" cy="522386"/>
            <a:chOff x="506805" y="1895263"/>
            <a:chExt cx="5613527" cy="522386"/>
          </a:xfrm>
        </p:grpSpPr>
        <p:sp>
          <p:nvSpPr>
            <p:cNvPr id="104" name="Rectangle 103">
              <a:extLst>
                <a:ext uri="{FF2B5EF4-FFF2-40B4-BE49-F238E27FC236}">
                  <a16:creationId xmlns:a16="http://schemas.microsoft.com/office/drawing/2014/main" id="{D08E7B84-2F88-4D52-9CB4-037578693141}"/>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r>
                <a:rPr lang="en-US" sz="1600">
                  <a:solidFill>
                    <a:schemeClr val="tx1"/>
                  </a:solidFill>
                </a:rPr>
                <a:t>Wrap up</a:t>
              </a:r>
            </a:p>
          </p:txBody>
        </p:sp>
        <p:grpSp>
          <p:nvGrpSpPr>
            <p:cNvPr id="106" name="Group 105">
              <a:extLst>
                <a:ext uri="{FF2B5EF4-FFF2-40B4-BE49-F238E27FC236}">
                  <a16:creationId xmlns:a16="http://schemas.microsoft.com/office/drawing/2014/main" id="{8EB3E767-7877-44F7-9C06-0C8580306416}"/>
                </a:ext>
              </a:extLst>
            </p:cNvPr>
            <p:cNvGrpSpPr/>
            <p:nvPr/>
          </p:nvGrpSpPr>
          <p:grpSpPr>
            <a:xfrm>
              <a:off x="730757" y="1993400"/>
              <a:ext cx="326112" cy="326112"/>
              <a:chOff x="115497" y="1864737"/>
              <a:chExt cx="461744" cy="461744"/>
            </a:xfrm>
            <a:solidFill>
              <a:schemeClr val="tx2"/>
            </a:solidFill>
          </p:grpSpPr>
          <p:sp>
            <p:nvSpPr>
              <p:cNvPr id="115" name="Freeform: Shape 114">
                <a:extLst>
                  <a:ext uri="{FF2B5EF4-FFF2-40B4-BE49-F238E27FC236}">
                    <a16:creationId xmlns:a16="http://schemas.microsoft.com/office/drawing/2014/main" id="{5F9F04CA-09D4-42DD-8FC8-C4F30642094A}"/>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6" name="Graphic 77">
                <a:extLst>
                  <a:ext uri="{FF2B5EF4-FFF2-40B4-BE49-F238E27FC236}">
                    <a16:creationId xmlns:a16="http://schemas.microsoft.com/office/drawing/2014/main" id="{7A19F721-1E85-4AB6-9788-7259E627CA9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rgbClr val="0B556A"/>
              </a:solidFill>
              <a:ln w="6572" cap="flat">
                <a:noFill/>
                <a:prstDash val="solid"/>
                <a:miter/>
              </a:ln>
            </p:spPr>
            <p:txBody>
              <a:bodyPr rtlCol="0" anchor="ctr"/>
              <a:lstStyle/>
              <a:p>
                <a:endParaRPr lang="en-US"/>
              </a:p>
            </p:txBody>
          </p:sp>
        </p:grpSp>
      </p:grpSp>
      <p:grpSp>
        <p:nvGrpSpPr>
          <p:cNvPr id="117" name="Group 116">
            <a:extLst>
              <a:ext uri="{FF2B5EF4-FFF2-40B4-BE49-F238E27FC236}">
                <a16:creationId xmlns:a16="http://schemas.microsoft.com/office/drawing/2014/main" id="{7193AEF7-0678-40BA-8932-5A6279116875}"/>
              </a:ext>
            </a:extLst>
          </p:cNvPr>
          <p:cNvGrpSpPr/>
          <p:nvPr/>
        </p:nvGrpSpPr>
        <p:grpSpPr>
          <a:xfrm>
            <a:off x="6127007" y="2457623"/>
            <a:ext cx="5613527" cy="522386"/>
            <a:chOff x="506805" y="1895263"/>
            <a:chExt cx="5613527" cy="522386"/>
          </a:xfrm>
        </p:grpSpPr>
        <p:sp>
          <p:nvSpPr>
            <p:cNvPr id="118" name="Rectangle 117">
              <a:extLst>
                <a:ext uri="{FF2B5EF4-FFF2-40B4-BE49-F238E27FC236}">
                  <a16:creationId xmlns:a16="http://schemas.microsoft.com/office/drawing/2014/main" id="{0A5D5B54-7EC8-43DB-87A6-F986D213B188}"/>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US" sz="1600">
                  <a:solidFill>
                    <a:schemeClr val="tx1"/>
                  </a:solidFill>
                </a:rPr>
                <a:t>Resources</a:t>
              </a:r>
            </a:p>
          </p:txBody>
        </p:sp>
        <p:grpSp>
          <p:nvGrpSpPr>
            <p:cNvPr id="119" name="Group 118">
              <a:extLst>
                <a:ext uri="{FF2B5EF4-FFF2-40B4-BE49-F238E27FC236}">
                  <a16:creationId xmlns:a16="http://schemas.microsoft.com/office/drawing/2014/main" id="{DE2CEAB8-406B-47A0-936A-39DAD64CC4E0}"/>
                </a:ext>
              </a:extLst>
            </p:cNvPr>
            <p:cNvGrpSpPr/>
            <p:nvPr/>
          </p:nvGrpSpPr>
          <p:grpSpPr>
            <a:xfrm>
              <a:off x="730757" y="1993400"/>
              <a:ext cx="326112" cy="326112"/>
              <a:chOff x="115497" y="1864737"/>
              <a:chExt cx="461744" cy="461744"/>
            </a:xfrm>
            <a:solidFill>
              <a:schemeClr val="tx2"/>
            </a:solidFill>
          </p:grpSpPr>
          <p:sp>
            <p:nvSpPr>
              <p:cNvPr id="120" name="Freeform: Shape 119">
                <a:extLst>
                  <a:ext uri="{FF2B5EF4-FFF2-40B4-BE49-F238E27FC236}">
                    <a16:creationId xmlns:a16="http://schemas.microsoft.com/office/drawing/2014/main" id="{455C258E-9A28-41E9-B509-59455454621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1" name="Graphic 77">
                <a:extLst>
                  <a:ext uri="{FF2B5EF4-FFF2-40B4-BE49-F238E27FC236}">
                    <a16:creationId xmlns:a16="http://schemas.microsoft.com/office/drawing/2014/main" id="{A3BD8930-5C67-4C36-8762-2885D738CC6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122" name="Group 121">
            <a:extLst>
              <a:ext uri="{FF2B5EF4-FFF2-40B4-BE49-F238E27FC236}">
                <a16:creationId xmlns:a16="http://schemas.microsoft.com/office/drawing/2014/main" id="{F46827BE-6295-4DC0-9941-15F504E2A8BF}"/>
              </a:ext>
            </a:extLst>
          </p:cNvPr>
          <p:cNvGrpSpPr/>
          <p:nvPr/>
        </p:nvGrpSpPr>
        <p:grpSpPr>
          <a:xfrm>
            <a:off x="6127007" y="2979824"/>
            <a:ext cx="5613527" cy="522386"/>
            <a:chOff x="506805" y="1895263"/>
            <a:chExt cx="5613527" cy="522386"/>
          </a:xfrm>
        </p:grpSpPr>
        <p:sp>
          <p:nvSpPr>
            <p:cNvPr id="123" name="Rectangle 122">
              <a:extLst>
                <a:ext uri="{FF2B5EF4-FFF2-40B4-BE49-F238E27FC236}">
                  <a16:creationId xmlns:a16="http://schemas.microsoft.com/office/drawing/2014/main" id="{829F23F9-518C-45D3-9766-1777CA6E0A0E}"/>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US" sz="1600">
                  <a:solidFill>
                    <a:schemeClr val="tx1"/>
                  </a:solidFill>
                </a:rPr>
                <a:t>Appendix</a:t>
              </a:r>
            </a:p>
          </p:txBody>
        </p:sp>
        <p:grpSp>
          <p:nvGrpSpPr>
            <p:cNvPr id="124" name="Group 123">
              <a:extLst>
                <a:ext uri="{FF2B5EF4-FFF2-40B4-BE49-F238E27FC236}">
                  <a16:creationId xmlns:a16="http://schemas.microsoft.com/office/drawing/2014/main" id="{E6385582-626F-4D18-96FA-2EC8C4FE18F6}"/>
                </a:ext>
              </a:extLst>
            </p:cNvPr>
            <p:cNvGrpSpPr/>
            <p:nvPr/>
          </p:nvGrpSpPr>
          <p:grpSpPr>
            <a:xfrm>
              <a:off x="730757" y="1993400"/>
              <a:ext cx="326112" cy="326112"/>
              <a:chOff x="115497" y="1864737"/>
              <a:chExt cx="461744" cy="461744"/>
            </a:xfrm>
            <a:solidFill>
              <a:schemeClr val="tx2"/>
            </a:solidFill>
          </p:grpSpPr>
          <p:sp>
            <p:nvSpPr>
              <p:cNvPr id="125" name="Freeform: Shape 124">
                <a:extLst>
                  <a:ext uri="{FF2B5EF4-FFF2-40B4-BE49-F238E27FC236}">
                    <a16:creationId xmlns:a16="http://schemas.microsoft.com/office/drawing/2014/main" id="{F6698F81-4729-4466-834A-170E54525C1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6" name="Graphic 77">
                <a:extLst>
                  <a:ext uri="{FF2B5EF4-FFF2-40B4-BE49-F238E27FC236}">
                    <a16:creationId xmlns:a16="http://schemas.microsoft.com/office/drawing/2014/main" id="{ECCA9FD5-E62C-4D97-9FC7-939272954B9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cxnSp>
        <p:nvCxnSpPr>
          <p:cNvPr id="15" name="Straight Connector 14">
            <a:extLst>
              <a:ext uri="{FF2B5EF4-FFF2-40B4-BE49-F238E27FC236}">
                <a16:creationId xmlns:a16="http://schemas.microsoft.com/office/drawing/2014/main" id="{51A397C7-102B-43AC-9AB2-15B1092D4DEA}"/>
              </a:ext>
            </a:extLst>
          </p:cNvPr>
          <p:cNvCxnSpPr>
            <a:cxnSpLocks/>
          </p:cNvCxnSpPr>
          <p:nvPr/>
        </p:nvCxnSpPr>
        <p:spPr>
          <a:xfrm>
            <a:off x="6227902" y="2450120"/>
            <a:ext cx="5512632" cy="7503"/>
          </a:xfrm>
          <a:prstGeom prst="line">
            <a:avLst/>
          </a:prstGeom>
          <a:noFill/>
          <a:ln w="3175">
            <a:solidFill>
              <a:schemeClr val="bg1">
                <a:lumMod val="85000"/>
              </a:schemeClr>
            </a:solidFill>
            <a:prstDash val="dash"/>
          </a:ln>
        </p:spPr>
      </p:cxnSp>
      <p:cxnSp>
        <p:nvCxnSpPr>
          <p:cNvPr id="16" name="Straight Connector 15">
            <a:extLst>
              <a:ext uri="{FF2B5EF4-FFF2-40B4-BE49-F238E27FC236}">
                <a16:creationId xmlns:a16="http://schemas.microsoft.com/office/drawing/2014/main" id="{A6522128-A1FB-490C-92E7-4B08B0758291}"/>
              </a:ext>
            </a:extLst>
          </p:cNvPr>
          <p:cNvCxnSpPr>
            <a:cxnSpLocks/>
          </p:cNvCxnSpPr>
          <p:nvPr/>
        </p:nvCxnSpPr>
        <p:spPr>
          <a:xfrm>
            <a:off x="6234577" y="2999833"/>
            <a:ext cx="5499282" cy="40894"/>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10948709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256811CF-363F-415B-BDDC-702D196043BC}"/>
              </a:ext>
            </a:extLst>
          </p:cNvPr>
          <p:cNvSpPr txBox="1">
            <a:spLocks noGrp="1"/>
          </p:cNvSpPr>
          <p:nvPr>
            <p:ph type="title" idx="4294967295"/>
          </p:nvPr>
        </p:nvSpPr>
        <p:spPr>
          <a:xfrm>
            <a:off x="585216" y="2651888"/>
            <a:ext cx="11206734" cy="1554224"/>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50" normalizeH="0" baseline="0" noProof="0">
                <a:ln w="3175">
                  <a:noFill/>
                </a:ln>
                <a:solidFill>
                  <a:schemeClr val="tx1"/>
                </a:solidFill>
                <a:effectLst/>
                <a:uLnTx/>
                <a:uFillTx/>
                <a:latin typeface="+mj-lt"/>
                <a:ea typeface="+mn-ea"/>
                <a:cs typeface="Segoe UI"/>
              </a:rPr>
              <a:t>Security strategy </a:t>
            </a:r>
            <a:br>
              <a:rPr kumimoji="0" lang="en-US" sz="4400" b="0" i="0" u="none" strike="noStrike" kern="1200" cap="none" spc="-50" normalizeH="0" baseline="0" noProof="0">
                <a:ln w="3175">
                  <a:noFill/>
                </a:ln>
                <a:solidFill>
                  <a:srgbClr val="4CCBED"/>
                </a:solidFill>
                <a:effectLst/>
                <a:uLnTx/>
                <a:uFillTx/>
                <a:latin typeface="+mj-lt"/>
                <a:ea typeface="+mn-ea"/>
                <a:cs typeface="Segoe UI"/>
              </a:rPr>
            </a:br>
            <a:r>
              <a:rPr kumimoji="0" lang="en-US" sz="4400" b="0" i="0" u="none" strike="noStrike" kern="1200" cap="none" spc="-50" normalizeH="0" baseline="0" noProof="0">
                <a:ln w="3175">
                  <a:noFill/>
                </a:ln>
                <a:solidFill>
                  <a:srgbClr val="4CCBED"/>
                </a:solidFill>
                <a:effectLst/>
                <a:uLnTx/>
                <a:uFillTx/>
                <a:latin typeface="+mj-lt"/>
                <a:ea typeface="+mn-ea"/>
                <a:cs typeface="Segoe UI"/>
              </a:rPr>
              <a:t>Management, monitoring, and auditing</a:t>
            </a:r>
          </a:p>
        </p:txBody>
      </p:sp>
    </p:spTree>
    <p:extLst>
      <p:ext uri="{BB962C8B-B14F-4D97-AF65-F5344CB8AC3E}">
        <p14:creationId xmlns:p14="http://schemas.microsoft.com/office/powerpoint/2010/main" val="21841519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457200"/>
            <a:ext cx="10450525" cy="553998"/>
          </a:xfrm>
        </p:spPr>
        <p:txBody>
          <a:bodyPr/>
          <a:lstStyle/>
          <a:p>
            <a:r>
              <a:rPr lang="en-GB">
                <a:cs typeface="Segoe UI"/>
              </a:rPr>
              <a:t>Management</a:t>
            </a:r>
            <a:endParaRPr lang="en-US"/>
          </a:p>
        </p:txBody>
      </p:sp>
      <p:sp>
        <p:nvSpPr>
          <p:cNvPr id="20" name="Rectangle 19">
            <a:extLst>
              <a:ext uri="{FF2B5EF4-FFF2-40B4-BE49-F238E27FC236}">
                <a16:creationId xmlns:a16="http://schemas.microsoft.com/office/drawing/2014/main" id="{8993611A-AF72-44E5-BB38-BEB9A5F83D66}"/>
              </a:ext>
            </a:extLst>
          </p:cNvPr>
          <p:cNvSpPr/>
          <p:nvPr/>
        </p:nvSpPr>
        <p:spPr>
          <a:xfrm>
            <a:off x="878111" y="1189176"/>
            <a:ext cx="5921870" cy="16528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sz="1600">
                <a:solidFill>
                  <a:schemeClr val="tx1"/>
                </a:solidFill>
              </a:rPr>
              <a:t>How are you considering Integration Identity and Service Accounts?  How about Administrator accounts?</a:t>
            </a:r>
          </a:p>
        </p:txBody>
      </p:sp>
      <p:grpSp>
        <p:nvGrpSpPr>
          <p:cNvPr id="21" name="Group 20">
            <a:extLst>
              <a:ext uri="{FF2B5EF4-FFF2-40B4-BE49-F238E27FC236}">
                <a16:creationId xmlns:a16="http://schemas.microsoft.com/office/drawing/2014/main" id="{CABCF65C-E2F3-4E15-9B5E-0A4DC1E41291}"/>
              </a:ext>
            </a:extLst>
          </p:cNvPr>
          <p:cNvGrpSpPr/>
          <p:nvPr/>
        </p:nvGrpSpPr>
        <p:grpSpPr>
          <a:xfrm>
            <a:off x="446183" y="1276527"/>
            <a:ext cx="326112" cy="326112"/>
            <a:chOff x="115497" y="1864737"/>
            <a:chExt cx="461744" cy="461744"/>
          </a:xfrm>
          <a:solidFill>
            <a:schemeClr val="tx2"/>
          </a:solidFill>
        </p:grpSpPr>
        <p:sp>
          <p:nvSpPr>
            <p:cNvPr id="25" name="Freeform: Shape 24">
              <a:extLst>
                <a:ext uri="{FF2B5EF4-FFF2-40B4-BE49-F238E27FC236}">
                  <a16:creationId xmlns:a16="http://schemas.microsoft.com/office/drawing/2014/main" id="{7C25D6A2-1AC5-4C5E-A77A-61D3F6FE31C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Graphic 77">
              <a:extLst>
                <a:ext uri="{FF2B5EF4-FFF2-40B4-BE49-F238E27FC236}">
                  <a16:creationId xmlns:a16="http://schemas.microsoft.com/office/drawing/2014/main" id="{CBB5F4E7-227B-41A2-8495-CB7799C63317}"/>
                </a:ext>
              </a:extLst>
            </p:cNvPr>
            <p:cNvSpPr/>
            <p:nvPr/>
          </p:nvSpPr>
          <p:spPr>
            <a:xfrm>
              <a:off x="230796" y="2004258"/>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3" name="Rectangle 32">
            <a:extLst>
              <a:ext uri="{FF2B5EF4-FFF2-40B4-BE49-F238E27FC236}">
                <a16:creationId xmlns:a16="http://schemas.microsoft.com/office/drawing/2014/main" id="{4E6833D9-B8E8-4E22-A3C4-9785A26C6D3C}"/>
              </a:ext>
            </a:extLst>
          </p:cNvPr>
          <p:cNvSpPr/>
          <p:nvPr/>
        </p:nvSpPr>
        <p:spPr>
          <a:xfrm>
            <a:off x="6799981" y="1189180"/>
            <a:ext cx="4923802" cy="165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rPr>
              <a:t>Add details here</a:t>
            </a:r>
            <a:br>
              <a:rPr lang="en-US" sz="1600">
                <a:solidFill>
                  <a:schemeClr val="tx1"/>
                </a:solidFill>
              </a:rPr>
            </a:br>
            <a:br>
              <a:rPr lang="en-US" sz="1600">
                <a:solidFill>
                  <a:schemeClr val="tx1"/>
                </a:solidFill>
              </a:rPr>
            </a:br>
            <a:r>
              <a:rPr lang="en-US" sz="1600">
                <a:solidFill>
                  <a:schemeClr val="tx1"/>
                </a:solidFill>
              </a:rPr>
              <a:t>(See slide notes for additional information)</a:t>
            </a:r>
          </a:p>
        </p:txBody>
      </p:sp>
      <p:sp>
        <p:nvSpPr>
          <p:cNvPr id="40" name="Rectangle 39">
            <a:extLst>
              <a:ext uri="{FF2B5EF4-FFF2-40B4-BE49-F238E27FC236}">
                <a16:creationId xmlns:a16="http://schemas.microsoft.com/office/drawing/2014/main" id="{2FCD1F09-8989-41D1-80A4-1942ACFC4F39}"/>
              </a:ext>
            </a:extLst>
          </p:cNvPr>
          <p:cNvSpPr/>
          <p:nvPr/>
        </p:nvSpPr>
        <p:spPr>
          <a:xfrm>
            <a:off x="6799981" y="2982444"/>
            <a:ext cx="4923802" cy="165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rPr>
              <a:t>Add details here</a:t>
            </a:r>
            <a:br>
              <a:rPr lang="en-US" sz="1600">
                <a:solidFill>
                  <a:schemeClr val="tx1"/>
                </a:solidFill>
              </a:rPr>
            </a:br>
            <a:br>
              <a:rPr lang="en-US" sz="1600">
                <a:solidFill>
                  <a:schemeClr val="tx1"/>
                </a:solidFill>
              </a:rPr>
            </a:br>
            <a:r>
              <a:rPr lang="en-US" sz="1600">
                <a:solidFill>
                  <a:schemeClr val="tx1"/>
                </a:solidFill>
              </a:rPr>
              <a:t>(See slide notes for additional information)</a:t>
            </a:r>
          </a:p>
        </p:txBody>
      </p:sp>
      <p:sp>
        <p:nvSpPr>
          <p:cNvPr id="14" name="Rectangle 13">
            <a:extLst>
              <a:ext uri="{FF2B5EF4-FFF2-40B4-BE49-F238E27FC236}">
                <a16:creationId xmlns:a16="http://schemas.microsoft.com/office/drawing/2014/main" id="{EA8CC3DD-14C4-4EA0-8823-0A8FF631C7A4}"/>
              </a:ext>
            </a:extLst>
          </p:cNvPr>
          <p:cNvSpPr/>
          <p:nvPr/>
        </p:nvSpPr>
        <p:spPr>
          <a:xfrm>
            <a:off x="6799981" y="4775708"/>
            <a:ext cx="4923802" cy="165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rPr>
              <a:t>Add details here</a:t>
            </a:r>
            <a:br>
              <a:rPr lang="en-US" sz="1600">
                <a:solidFill>
                  <a:schemeClr val="tx1"/>
                </a:solidFill>
              </a:rPr>
            </a:br>
            <a:br>
              <a:rPr lang="en-US" sz="1600">
                <a:solidFill>
                  <a:schemeClr val="tx1"/>
                </a:solidFill>
              </a:rPr>
            </a:br>
            <a:r>
              <a:rPr lang="en-US" sz="1600">
                <a:solidFill>
                  <a:schemeClr val="tx1"/>
                </a:solidFill>
              </a:rPr>
              <a:t>(See slide notes for additional information)</a:t>
            </a:r>
          </a:p>
        </p:txBody>
      </p:sp>
      <p:cxnSp>
        <p:nvCxnSpPr>
          <p:cNvPr id="3" name="Straight Connector 2">
            <a:extLst>
              <a:ext uri="{FF2B5EF4-FFF2-40B4-BE49-F238E27FC236}">
                <a16:creationId xmlns:a16="http://schemas.microsoft.com/office/drawing/2014/main" id="{100200D1-16CD-467E-B5F0-85BD002B5827}"/>
              </a:ext>
            </a:extLst>
          </p:cNvPr>
          <p:cNvCxnSpPr>
            <a:cxnSpLocks/>
          </p:cNvCxnSpPr>
          <p:nvPr/>
        </p:nvCxnSpPr>
        <p:spPr>
          <a:xfrm>
            <a:off x="440526" y="2912983"/>
            <a:ext cx="11277600" cy="0"/>
          </a:xfrm>
          <a:prstGeom prst="line">
            <a:avLst/>
          </a:prstGeom>
          <a:noFill/>
          <a:ln w="3175">
            <a:solidFill>
              <a:schemeClr val="bg1">
                <a:lumMod val="75000"/>
              </a:schemeClr>
            </a:solidFill>
            <a:prstDash val="dash"/>
          </a:ln>
        </p:spPr>
      </p:cxnSp>
      <p:cxnSp>
        <p:nvCxnSpPr>
          <p:cNvPr id="4" name="Straight Connector 3">
            <a:extLst>
              <a:ext uri="{FF2B5EF4-FFF2-40B4-BE49-F238E27FC236}">
                <a16:creationId xmlns:a16="http://schemas.microsoft.com/office/drawing/2014/main" id="{E17A2B2C-FB80-4C4C-8F4D-529CE57AE49B}"/>
              </a:ext>
            </a:extLst>
          </p:cNvPr>
          <p:cNvCxnSpPr>
            <a:cxnSpLocks/>
          </p:cNvCxnSpPr>
          <p:nvPr/>
        </p:nvCxnSpPr>
        <p:spPr>
          <a:xfrm>
            <a:off x="438690" y="4696768"/>
            <a:ext cx="11277600" cy="0"/>
          </a:xfrm>
          <a:prstGeom prst="line">
            <a:avLst/>
          </a:prstGeom>
          <a:noFill/>
          <a:ln w="3175">
            <a:solidFill>
              <a:schemeClr val="bg1">
                <a:lumMod val="75000"/>
              </a:schemeClr>
            </a:solidFill>
            <a:prstDash val="dash"/>
          </a:ln>
        </p:spPr>
      </p:cxnSp>
      <p:sp>
        <p:nvSpPr>
          <p:cNvPr id="19" name="Rectangle 18">
            <a:extLst>
              <a:ext uri="{FF2B5EF4-FFF2-40B4-BE49-F238E27FC236}">
                <a16:creationId xmlns:a16="http://schemas.microsoft.com/office/drawing/2014/main" id="{0D5AF570-E4AB-44EC-87E3-84709047A6E4}"/>
              </a:ext>
            </a:extLst>
          </p:cNvPr>
          <p:cNvSpPr/>
          <p:nvPr/>
        </p:nvSpPr>
        <p:spPr>
          <a:xfrm>
            <a:off x="870618" y="2980788"/>
            <a:ext cx="5921870" cy="16560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sz="1600">
                <a:solidFill>
                  <a:schemeClr val="tx1"/>
                </a:solidFill>
              </a:rPr>
              <a:t>Are you managing all users within your company centrally, at the organization level?</a:t>
            </a:r>
          </a:p>
        </p:txBody>
      </p:sp>
      <p:grpSp>
        <p:nvGrpSpPr>
          <p:cNvPr id="22" name="Group 21">
            <a:extLst>
              <a:ext uri="{FF2B5EF4-FFF2-40B4-BE49-F238E27FC236}">
                <a16:creationId xmlns:a16="http://schemas.microsoft.com/office/drawing/2014/main" id="{8B817AF4-D6F1-458E-916D-F313818D324C}"/>
              </a:ext>
            </a:extLst>
          </p:cNvPr>
          <p:cNvGrpSpPr/>
          <p:nvPr/>
        </p:nvGrpSpPr>
        <p:grpSpPr>
          <a:xfrm>
            <a:off x="438690" y="3069067"/>
            <a:ext cx="326112" cy="326112"/>
            <a:chOff x="115497" y="1864737"/>
            <a:chExt cx="461744" cy="461744"/>
          </a:xfrm>
          <a:solidFill>
            <a:schemeClr val="tx2"/>
          </a:solidFill>
        </p:grpSpPr>
        <p:sp>
          <p:nvSpPr>
            <p:cNvPr id="23" name="Freeform: Shape 22">
              <a:extLst>
                <a:ext uri="{FF2B5EF4-FFF2-40B4-BE49-F238E27FC236}">
                  <a16:creationId xmlns:a16="http://schemas.microsoft.com/office/drawing/2014/main" id="{5484DA3B-F8BD-462A-90AD-1B68C9A50D9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4" name="Graphic 77">
              <a:extLst>
                <a:ext uri="{FF2B5EF4-FFF2-40B4-BE49-F238E27FC236}">
                  <a16:creationId xmlns:a16="http://schemas.microsoft.com/office/drawing/2014/main" id="{E756EABF-FC17-4542-A642-0CC6FCA48BEF}"/>
                </a:ext>
              </a:extLst>
            </p:cNvPr>
            <p:cNvSpPr/>
            <p:nvPr/>
          </p:nvSpPr>
          <p:spPr>
            <a:xfrm>
              <a:off x="230796" y="2004258"/>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27" name="Rectangle 26">
            <a:extLst>
              <a:ext uri="{FF2B5EF4-FFF2-40B4-BE49-F238E27FC236}">
                <a16:creationId xmlns:a16="http://schemas.microsoft.com/office/drawing/2014/main" id="{0AA7E48F-B090-4E86-A026-DBC3AECB9CDF}"/>
              </a:ext>
            </a:extLst>
          </p:cNvPr>
          <p:cNvSpPr/>
          <p:nvPr/>
        </p:nvSpPr>
        <p:spPr>
          <a:xfrm>
            <a:off x="883471" y="4759766"/>
            <a:ext cx="5921870" cy="165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sz="1600">
                <a:solidFill>
                  <a:schemeClr val="tx1"/>
                </a:solidFill>
              </a:rPr>
              <a:t>Do you plan to use AAD Groups, organizational hierarchy, automatic role assignment, or segregation of duties enforcement? What is your progress toward these objectives?</a:t>
            </a:r>
          </a:p>
        </p:txBody>
      </p:sp>
      <p:grpSp>
        <p:nvGrpSpPr>
          <p:cNvPr id="28" name="Group 27">
            <a:extLst>
              <a:ext uri="{FF2B5EF4-FFF2-40B4-BE49-F238E27FC236}">
                <a16:creationId xmlns:a16="http://schemas.microsoft.com/office/drawing/2014/main" id="{2546D9D7-5CD0-4FAA-BB8B-2742ADD67F31}"/>
              </a:ext>
            </a:extLst>
          </p:cNvPr>
          <p:cNvGrpSpPr/>
          <p:nvPr/>
        </p:nvGrpSpPr>
        <p:grpSpPr>
          <a:xfrm>
            <a:off x="451543" y="4847117"/>
            <a:ext cx="326112" cy="326112"/>
            <a:chOff x="115497" y="1864737"/>
            <a:chExt cx="461744" cy="461744"/>
          </a:xfrm>
          <a:solidFill>
            <a:schemeClr val="tx2"/>
          </a:solidFill>
        </p:grpSpPr>
        <p:sp>
          <p:nvSpPr>
            <p:cNvPr id="29" name="Freeform: Shape 28">
              <a:extLst>
                <a:ext uri="{FF2B5EF4-FFF2-40B4-BE49-F238E27FC236}">
                  <a16:creationId xmlns:a16="http://schemas.microsoft.com/office/drawing/2014/main" id="{C9C23C12-B1EE-44B7-8D8B-3C67812D6E6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0" name="Graphic 77">
              <a:extLst>
                <a:ext uri="{FF2B5EF4-FFF2-40B4-BE49-F238E27FC236}">
                  <a16:creationId xmlns:a16="http://schemas.microsoft.com/office/drawing/2014/main" id="{D1E48521-9D97-4DB7-9EFC-731BA3F5AECD}"/>
                </a:ext>
              </a:extLst>
            </p:cNvPr>
            <p:cNvSpPr/>
            <p:nvPr/>
          </p:nvSpPr>
          <p:spPr>
            <a:xfrm>
              <a:off x="230796" y="2004258"/>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Tree>
    <p:extLst>
      <p:ext uri="{BB962C8B-B14F-4D97-AF65-F5344CB8AC3E}">
        <p14:creationId xmlns:p14="http://schemas.microsoft.com/office/powerpoint/2010/main" val="3140675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457200"/>
            <a:ext cx="10450525" cy="553998"/>
          </a:xfrm>
        </p:spPr>
        <p:txBody>
          <a:bodyPr/>
          <a:lstStyle/>
          <a:p>
            <a:r>
              <a:rPr lang="en-US" sz="3600">
                <a:cs typeface="Segoe UI"/>
              </a:rPr>
              <a:t>M</a:t>
            </a:r>
            <a:r>
              <a:rPr lang="en-US">
                <a:cs typeface="Segoe UI"/>
              </a:rPr>
              <a:t>onitoring</a:t>
            </a:r>
            <a:r>
              <a:rPr lang="en-US" sz="3600">
                <a:cs typeface="Segoe UI"/>
              </a:rPr>
              <a:t> and </a:t>
            </a:r>
            <a:r>
              <a:rPr lang="en-US">
                <a:cs typeface="Segoe UI"/>
              </a:rPr>
              <a:t>auditing</a:t>
            </a:r>
            <a:endParaRPr lang="en-US"/>
          </a:p>
        </p:txBody>
      </p:sp>
      <p:sp>
        <p:nvSpPr>
          <p:cNvPr id="20" name="Rectangle 19">
            <a:extLst>
              <a:ext uri="{FF2B5EF4-FFF2-40B4-BE49-F238E27FC236}">
                <a16:creationId xmlns:a16="http://schemas.microsoft.com/office/drawing/2014/main" id="{8993611A-AF72-44E5-BB38-BEB9A5F83D66}"/>
              </a:ext>
            </a:extLst>
          </p:cNvPr>
          <p:cNvSpPr/>
          <p:nvPr/>
        </p:nvSpPr>
        <p:spPr>
          <a:xfrm>
            <a:off x="878111" y="1189176"/>
            <a:ext cx="5921870" cy="16528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sz="1800">
                <a:solidFill>
                  <a:schemeClr val="tx1"/>
                </a:solidFill>
              </a:rPr>
              <a:t>Do you plan to monitor user access to the applica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1" u="none" strike="noStrike" kern="1200" cap="none" spc="0" normalizeH="0" baseline="0" noProof="0">
                <a:ln>
                  <a:noFill/>
                </a:ln>
                <a:solidFill>
                  <a:srgbClr val="505050"/>
                </a:solidFill>
                <a:effectLst/>
                <a:uLnTx/>
                <a:uFillTx/>
                <a:latin typeface="Segoe UI"/>
                <a:ea typeface="+mn-ea"/>
                <a:cs typeface="+mn-cs"/>
              </a:rPr>
              <a:t>If yes, please detail your requirements and how you plan to meet them.</a:t>
            </a:r>
          </a:p>
        </p:txBody>
      </p:sp>
      <p:grpSp>
        <p:nvGrpSpPr>
          <p:cNvPr id="21" name="Group 20">
            <a:extLst>
              <a:ext uri="{FF2B5EF4-FFF2-40B4-BE49-F238E27FC236}">
                <a16:creationId xmlns:a16="http://schemas.microsoft.com/office/drawing/2014/main" id="{CABCF65C-E2F3-4E15-9B5E-0A4DC1E41291}"/>
              </a:ext>
            </a:extLst>
          </p:cNvPr>
          <p:cNvGrpSpPr/>
          <p:nvPr/>
        </p:nvGrpSpPr>
        <p:grpSpPr>
          <a:xfrm>
            <a:off x="446183" y="1276527"/>
            <a:ext cx="326112" cy="326112"/>
            <a:chOff x="115497" y="1864737"/>
            <a:chExt cx="461744" cy="461744"/>
          </a:xfrm>
          <a:solidFill>
            <a:schemeClr val="tx2"/>
          </a:solidFill>
        </p:grpSpPr>
        <p:sp>
          <p:nvSpPr>
            <p:cNvPr id="25" name="Freeform: Shape 24">
              <a:extLst>
                <a:ext uri="{FF2B5EF4-FFF2-40B4-BE49-F238E27FC236}">
                  <a16:creationId xmlns:a16="http://schemas.microsoft.com/office/drawing/2014/main" id="{7C25D6A2-1AC5-4C5E-A77A-61D3F6FE31C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Graphic 77">
              <a:extLst>
                <a:ext uri="{FF2B5EF4-FFF2-40B4-BE49-F238E27FC236}">
                  <a16:creationId xmlns:a16="http://schemas.microsoft.com/office/drawing/2014/main" id="{CBB5F4E7-227B-41A2-8495-CB7799C63317}"/>
                </a:ext>
              </a:extLst>
            </p:cNvPr>
            <p:cNvSpPr/>
            <p:nvPr/>
          </p:nvSpPr>
          <p:spPr>
            <a:xfrm>
              <a:off x="230796" y="2004258"/>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3" name="Rectangle 32">
            <a:extLst>
              <a:ext uri="{FF2B5EF4-FFF2-40B4-BE49-F238E27FC236}">
                <a16:creationId xmlns:a16="http://schemas.microsoft.com/office/drawing/2014/main" id="{4E6833D9-B8E8-4E22-A3C4-9785A26C6D3C}"/>
              </a:ext>
            </a:extLst>
          </p:cNvPr>
          <p:cNvSpPr/>
          <p:nvPr/>
        </p:nvSpPr>
        <p:spPr>
          <a:xfrm>
            <a:off x="6799981" y="1189180"/>
            <a:ext cx="4923802" cy="165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rPr>
              <a:t>Add details here</a:t>
            </a:r>
            <a:br>
              <a:rPr lang="en-US" sz="1600">
                <a:solidFill>
                  <a:schemeClr val="tx1"/>
                </a:solidFill>
              </a:rPr>
            </a:br>
            <a:br>
              <a:rPr lang="en-US" sz="1600">
                <a:solidFill>
                  <a:schemeClr val="tx1"/>
                </a:solidFill>
              </a:rPr>
            </a:br>
            <a:r>
              <a:rPr lang="en-US" sz="1600">
                <a:solidFill>
                  <a:schemeClr val="tx1"/>
                </a:solidFill>
              </a:rPr>
              <a:t>(See slide notes for additional information)</a:t>
            </a:r>
          </a:p>
        </p:txBody>
      </p:sp>
      <p:sp>
        <p:nvSpPr>
          <p:cNvPr id="40" name="Rectangle 39">
            <a:extLst>
              <a:ext uri="{FF2B5EF4-FFF2-40B4-BE49-F238E27FC236}">
                <a16:creationId xmlns:a16="http://schemas.microsoft.com/office/drawing/2014/main" id="{2FCD1F09-8989-41D1-80A4-1942ACFC4F39}"/>
              </a:ext>
            </a:extLst>
          </p:cNvPr>
          <p:cNvSpPr/>
          <p:nvPr/>
        </p:nvSpPr>
        <p:spPr>
          <a:xfrm>
            <a:off x="6799981" y="2982444"/>
            <a:ext cx="4923802" cy="165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rPr>
              <a:t>Add details here</a:t>
            </a:r>
            <a:br>
              <a:rPr lang="en-US" sz="1600">
                <a:solidFill>
                  <a:schemeClr val="tx1"/>
                </a:solidFill>
              </a:rPr>
            </a:br>
            <a:br>
              <a:rPr lang="en-US" sz="1600">
                <a:solidFill>
                  <a:schemeClr val="tx1"/>
                </a:solidFill>
              </a:rPr>
            </a:br>
            <a:r>
              <a:rPr lang="en-US" sz="1600">
                <a:solidFill>
                  <a:schemeClr val="tx1"/>
                </a:solidFill>
              </a:rPr>
              <a:t>(See slide notes for additional information)</a:t>
            </a:r>
          </a:p>
        </p:txBody>
      </p:sp>
      <p:sp>
        <p:nvSpPr>
          <p:cNvPr id="14" name="Rectangle 13">
            <a:extLst>
              <a:ext uri="{FF2B5EF4-FFF2-40B4-BE49-F238E27FC236}">
                <a16:creationId xmlns:a16="http://schemas.microsoft.com/office/drawing/2014/main" id="{EA8CC3DD-14C4-4EA0-8823-0A8FF631C7A4}"/>
              </a:ext>
            </a:extLst>
          </p:cNvPr>
          <p:cNvSpPr/>
          <p:nvPr/>
        </p:nvSpPr>
        <p:spPr>
          <a:xfrm>
            <a:off x="6799981" y="4775708"/>
            <a:ext cx="4923802" cy="165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rPr>
              <a:t>Add details here</a:t>
            </a:r>
            <a:br>
              <a:rPr lang="en-US" sz="1600">
                <a:solidFill>
                  <a:schemeClr val="tx1"/>
                </a:solidFill>
              </a:rPr>
            </a:br>
            <a:br>
              <a:rPr lang="en-US" sz="1600">
                <a:solidFill>
                  <a:schemeClr val="tx1"/>
                </a:solidFill>
              </a:rPr>
            </a:br>
            <a:r>
              <a:rPr lang="en-US" sz="1600">
                <a:solidFill>
                  <a:schemeClr val="tx1"/>
                </a:solidFill>
              </a:rPr>
              <a:t>(See slide notes for additional information)</a:t>
            </a:r>
          </a:p>
        </p:txBody>
      </p:sp>
      <p:cxnSp>
        <p:nvCxnSpPr>
          <p:cNvPr id="3" name="Straight Connector 2">
            <a:extLst>
              <a:ext uri="{FF2B5EF4-FFF2-40B4-BE49-F238E27FC236}">
                <a16:creationId xmlns:a16="http://schemas.microsoft.com/office/drawing/2014/main" id="{100200D1-16CD-467E-B5F0-85BD002B5827}"/>
              </a:ext>
            </a:extLst>
          </p:cNvPr>
          <p:cNvCxnSpPr>
            <a:cxnSpLocks/>
          </p:cNvCxnSpPr>
          <p:nvPr/>
        </p:nvCxnSpPr>
        <p:spPr>
          <a:xfrm>
            <a:off x="440526" y="2912983"/>
            <a:ext cx="11277600" cy="0"/>
          </a:xfrm>
          <a:prstGeom prst="line">
            <a:avLst/>
          </a:prstGeom>
          <a:noFill/>
          <a:ln w="3175">
            <a:solidFill>
              <a:schemeClr val="bg1">
                <a:lumMod val="75000"/>
              </a:schemeClr>
            </a:solidFill>
            <a:prstDash val="dash"/>
          </a:ln>
        </p:spPr>
      </p:cxnSp>
      <p:cxnSp>
        <p:nvCxnSpPr>
          <p:cNvPr id="4" name="Straight Connector 3">
            <a:extLst>
              <a:ext uri="{FF2B5EF4-FFF2-40B4-BE49-F238E27FC236}">
                <a16:creationId xmlns:a16="http://schemas.microsoft.com/office/drawing/2014/main" id="{E17A2B2C-FB80-4C4C-8F4D-529CE57AE49B}"/>
              </a:ext>
            </a:extLst>
          </p:cNvPr>
          <p:cNvCxnSpPr>
            <a:cxnSpLocks/>
          </p:cNvCxnSpPr>
          <p:nvPr/>
        </p:nvCxnSpPr>
        <p:spPr>
          <a:xfrm>
            <a:off x="438690" y="4696768"/>
            <a:ext cx="11277600" cy="0"/>
          </a:xfrm>
          <a:prstGeom prst="line">
            <a:avLst/>
          </a:prstGeom>
          <a:noFill/>
          <a:ln w="3175">
            <a:solidFill>
              <a:schemeClr val="bg1">
                <a:lumMod val="75000"/>
              </a:schemeClr>
            </a:solidFill>
            <a:prstDash val="dash"/>
          </a:ln>
        </p:spPr>
      </p:cxnSp>
      <p:sp>
        <p:nvSpPr>
          <p:cNvPr id="19" name="Rectangle 18">
            <a:extLst>
              <a:ext uri="{FF2B5EF4-FFF2-40B4-BE49-F238E27FC236}">
                <a16:creationId xmlns:a16="http://schemas.microsoft.com/office/drawing/2014/main" id="{0D5AF570-E4AB-44EC-87E3-84709047A6E4}"/>
              </a:ext>
            </a:extLst>
          </p:cNvPr>
          <p:cNvSpPr/>
          <p:nvPr/>
        </p:nvSpPr>
        <p:spPr>
          <a:xfrm>
            <a:off x="870618" y="2980788"/>
            <a:ext cx="5921870" cy="16560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sz="1800">
                <a:solidFill>
                  <a:schemeClr val="tx1"/>
                </a:solidFill>
              </a:rPr>
              <a:t>Do you plan to audit user action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1" u="none" strike="noStrike" kern="1200" cap="none" spc="0" normalizeH="0" baseline="0" noProof="0">
                <a:ln>
                  <a:noFill/>
                </a:ln>
                <a:solidFill>
                  <a:srgbClr val="505050"/>
                </a:solidFill>
                <a:effectLst/>
                <a:uLnTx/>
                <a:uFillTx/>
                <a:latin typeface="Segoe UI"/>
                <a:ea typeface="+mn-ea"/>
                <a:cs typeface="+mn-cs"/>
              </a:rPr>
              <a:t>If yes, please detail your requirements and how you plan to meet them.</a:t>
            </a:r>
          </a:p>
        </p:txBody>
      </p:sp>
      <p:grpSp>
        <p:nvGrpSpPr>
          <p:cNvPr id="22" name="Group 21">
            <a:extLst>
              <a:ext uri="{FF2B5EF4-FFF2-40B4-BE49-F238E27FC236}">
                <a16:creationId xmlns:a16="http://schemas.microsoft.com/office/drawing/2014/main" id="{8B817AF4-D6F1-458E-916D-F313818D324C}"/>
              </a:ext>
            </a:extLst>
          </p:cNvPr>
          <p:cNvGrpSpPr/>
          <p:nvPr/>
        </p:nvGrpSpPr>
        <p:grpSpPr>
          <a:xfrm>
            <a:off x="438690" y="3069067"/>
            <a:ext cx="326112" cy="326112"/>
            <a:chOff x="115497" y="1864737"/>
            <a:chExt cx="461744" cy="461744"/>
          </a:xfrm>
          <a:solidFill>
            <a:schemeClr val="tx2"/>
          </a:solidFill>
        </p:grpSpPr>
        <p:sp>
          <p:nvSpPr>
            <p:cNvPr id="23" name="Freeform: Shape 22">
              <a:extLst>
                <a:ext uri="{FF2B5EF4-FFF2-40B4-BE49-F238E27FC236}">
                  <a16:creationId xmlns:a16="http://schemas.microsoft.com/office/drawing/2014/main" id="{5484DA3B-F8BD-462A-90AD-1B68C9A50D9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4" name="Graphic 77">
              <a:extLst>
                <a:ext uri="{FF2B5EF4-FFF2-40B4-BE49-F238E27FC236}">
                  <a16:creationId xmlns:a16="http://schemas.microsoft.com/office/drawing/2014/main" id="{E756EABF-FC17-4542-A642-0CC6FCA48BEF}"/>
                </a:ext>
              </a:extLst>
            </p:cNvPr>
            <p:cNvSpPr/>
            <p:nvPr/>
          </p:nvSpPr>
          <p:spPr>
            <a:xfrm>
              <a:off x="230796" y="2004258"/>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27" name="Rectangle 26">
            <a:extLst>
              <a:ext uri="{FF2B5EF4-FFF2-40B4-BE49-F238E27FC236}">
                <a16:creationId xmlns:a16="http://schemas.microsoft.com/office/drawing/2014/main" id="{0AA7E48F-B090-4E86-A026-DBC3AECB9CDF}"/>
              </a:ext>
            </a:extLst>
          </p:cNvPr>
          <p:cNvSpPr/>
          <p:nvPr/>
        </p:nvSpPr>
        <p:spPr>
          <a:xfrm>
            <a:off x="883471" y="4759766"/>
            <a:ext cx="5921870" cy="165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algn="l" defTabSz="914400" rtl="0" eaLnBrk="1" fontAlgn="auto" latinLnBrk="0" hangingPunct="1">
              <a:lnSpc>
                <a:spcPct val="100000"/>
              </a:lnSpc>
              <a:spcBef>
                <a:spcPts val="0"/>
              </a:spcBef>
              <a:spcAft>
                <a:spcPts val="0"/>
              </a:spcAft>
              <a:buClrTx/>
              <a:buSzTx/>
              <a:tabLst/>
              <a:defRPr/>
            </a:pPr>
            <a:r>
              <a:rPr lang="en-US" sz="1600" noProof="0">
                <a:solidFill>
                  <a:schemeClr val="tx1"/>
                </a:solidFill>
              </a:rPr>
              <a:t>How do you plan to prepare for your next security audit?  When will that be?</a:t>
            </a:r>
          </a:p>
        </p:txBody>
      </p:sp>
      <p:grpSp>
        <p:nvGrpSpPr>
          <p:cNvPr id="28" name="Group 27">
            <a:extLst>
              <a:ext uri="{FF2B5EF4-FFF2-40B4-BE49-F238E27FC236}">
                <a16:creationId xmlns:a16="http://schemas.microsoft.com/office/drawing/2014/main" id="{2546D9D7-5CD0-4FAA-BB8B-2742ADD67F31}"/>
              </a:ext>
            </a:extLst>
          </p:cNvPr>
          <p:cNvGrpSpPr/>
          <p:nvPr/>
        </p:nvGrpSpPr>
        <p:grpSpPr>
          <a:xfrm>
            <a:off x="451543" y="4847117"/>
            <a:ext cx="326112" cy="326112"/>
            <a:chOff x="115497" y="1864737"/>
            <a:chExt cx="461744" cy="461744"/>
          </a:xfrm>
          <a:solidFill>
            <a:schemeClr val="tx2"/>
          </a:solidFill>
        </p:grpSpPr>
        <p:sp>
          <p:nvSpPr>
            <p:cNvPr id="29" name="Freeform: Shape 28">
              <a:extLst>
                <a:ext uri="{FF2B5EF4-FFF2-40B4-BE49-F238E27FC236}">
                  <a16:creationId xmlns:a16="http://schemas.microsoft.com/office/drawing/2014/main" id="{C9C23C12-B1EE-44B7-8D8B-3C67812D6E6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0" name="Graphic 77">
              <a:extLst>
                <a:ext uri="{FF2B5EF4-FFF2-40B4-BE49-F238E27FC236}">
                  <a16:creationId xmlns:a16="http://schemas.microsoft.com/office/drawing/2014/main" id="{D1E48521-9D97-4DB7-9EFC-731BA3F5AECD}"/>
                </a:ext>
              </a:extLst>
            </p:cNvPr>
            <p:cNvSpPr/>
            <p:nvPr/>
          </p:nvSpPr>
          <p:spPr>
            <a:xfrm>
              <a:off x="230796" y="2004258"/>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Tree>
    <p:extLst>
      <p:ext uri="{BB962C8B-B14F-4D97-AF65-F5344CB8AC3E}">
        <p14:creationId xmlns:p14="http://schemas.microsoft.com/office/powerpoint/2010/main" val="9309852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D4A6C5B7-1FF9-40ED-B5CF-C60C02256475}"/>
              </a:ext>
            </a:extLst>
          </p:cNvPr>
          <p:cNvSpPr txBox="1">
            <a:spLocks noGrp="1"/>
          </p:cNvSpPr>
          <p:nvPr>
            <p:ph type="title" idx="4294967295"/>
          </p:nvPr>
        </p:nvSpPr>
        <p:spPr>
          <a:xfrm>
            <a:off x="585216" y="2651888"/>
            <a:ext cx="11206734" cy="1554224"/>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50" normalizeH="0" baseline="0" noProof="0">
                <a:ln w="3175">
                  <a:noFill/>
                </a:ln>
                <a:solidFill>
                  <a:schemeClr val="tx1"/>
                </a:solidFill>
                <a:effectLst/>
                <a:uLnTx/>
                <a:uFillTx/>
                <a:latin typeface="+mj-lt"/>
                <a:ea typeface="+mn-ea"/>
                <a:cs typeface="Segoe UI"/>
              </a:rPr>
              <a:t>Security strategy </a:t>
            </a:r>
            <a:br>
              <a:rPr kumimoji="0" lang="en-US" sz="4400" b="0" i="0" u="none" strike="noStrike" kern="1200" cap="none" spc="-50" normalizeH="0" baseline="0" noProof="0">
                <a:ln w="3175">
                  <a:noFill/>
                </a:ln>
                <a:solidFill>
                  <a:srgbClr val="4CCBED"/>
                </a:solidFill>
                <a:effectLst/>
                <a:uLnTx/>
                <a:uFillTx/>
                <a:latin typeface="+mj-lt"/>
                <a:ea typeface="+mn-ea"/>
                <a:cs typeface="Segoe UI"/>
              </a:rPr>
            </a:br>
            <a:r>
              <a:rPr kumimoji="0" lang="en-US" sz="4400" b="0" i="0" u="none" strike="noStrike" kern="1200" cap="none" spc="-50" normalizeH="0" baseline="0" noProof="0">
                <a:ln w="3175">
                  <a:noFill/>
                </a:ln>
                <a:solidFill>
                  <a:srgbClr val="4CCBED"/>
                </a:solidFill>
                <a:effectLst/>
                <a:uLnTx/>
                <a:uFillTx/>
                <a:latin typeface="+mj-lt"/>
                <a:ea typeface="+mn-ea"/>
                <a:cs typeface="Segoe UI"/>
              </a:rPr>
              <a:t>Wrap-up</a:t>
            </a:r>
          </a:p>
        </p:txBody>
      </p:sp>
    </p:spTree>
    <p:extLst>
      <p:ext uri="{BB962C8B-B14F-4D97-AF65-F5344CB8AC3E}">
        <p14:creationId xmlns:p14="http://schemas.microsoft.com/office/powerpoint/2010/main" val="27188860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Risks</a:t>
            </a:r>
          </a:p>
        </p:txBody>
      </p:sp>
      <p:sp>
        <p:nvSpPr>
          <p:cNvPr id="51" name="Rectangle 50">
            <a:extLst>
              <a:ext uri="{FF2B5EF4-FFF2-40B4-BE49-F238E27FC236}">
                <a16:creationId xmlns:a16="http://schemas.microsoft.com/office/drawing/2014/main" id="{53C33CF7-B99C-4242-B068-B1E55EFBB73A}"/>
              </a:ext>
            </a:extLst>
          </p:cNvPr>
          <p:cNvSpPr/>
          <p:nvPr/>
        </p:nvSpPr>
        <p:spPr>
          <a:xfrm>
            <a:off x="5135336" y="1895262"/>
            <a:ext cx="6599464" cy="45790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ea typeface="+mn-lt"/>
                <a:cs typeface="+mn-lt"/>
              </a:rPr>
              <a:t>Add details here</a:t>
            </a:r>
          </a:p>
          <a:p>
            <a:pPr algn="ctr"/>
            <a:endParaRPr lang="en-US" sz="1600">
              <a:solidFill>
                <a:schemeClr val="tx1"/>
              </a:solidFill>
              <a:cs typeface="Segoe UI"/>
            </a:endParaRPr>
          </a:p>
        </p:txBody>
      </p:sp>
      <p:grpSp>
        <p:nvGrpSpPr>
          <p:cNvPr id="25" name="Group 24">
            <a:extLst>
              <a:ext uri="{FF2B5EF4-FFF2-40B4-BE49-F238E27FC236}">
                <a16:creationId xmlns:a16="http://schemas.microsoft.com/office/drawing/2014/main" id="{9251451E-1ECC-4B74-9C64-BE8AE12D0BAE}"/>
              </a:ext>
            </a:extLst>
          </p:cNvPr>
          <p:cNvGrpSpPr/>
          <p:nvPr/>
        </p:nvGrpSpPr>
        <p:grpSpPr>
          <a:xfrm>
            <a:off x="457200" y="1895262"/>
            <a:ext cx="4302579" cy="830997"/>
            <a:chOff x="457200" y="3405001"/>
            <a:chExt cx="4302579" cy="830997"/>
          </a:xfrm>
        </p:grpSpPr>
        <p:sp>
          <p:nvSpPr>
            <p:cNvPr id="26" name="Rectangle 25">
              <a:extLst>
                <a:ext uri="{FF2B5EF4-FFF2-40B4-BE49-F238E27FC236}">
                  <a16:creationId xmlns:a16="http://schemas.microsoft.com/office/drawing/2014/main" id="{2D25F1DB-E5EF-43B7-90EE-38A06D4259B9}"/>
                </a:ext>
              </a:extLst>
            </p:cNvPr>
            <p:cNvSpPr/>
            <p:nvPr/>
          </p:nvSpPr>
          <p:spPr>
            <a:xfrm>
              <a:off x="506804" y="3405001"/>
              <a:ext cx="4252975"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tIns="45720" rIns="91440" bIns="45720" rtlCol="0" anchor="ctr">
              <a:spAutoFit/>
            </a:bodyPr>
            <a:lstStyle/>
            <a:p>
              <a:r>
                <a:rPr lang="en-US" sz="1600">
                  <a:solidFill>
                    <a:schemeClr val="tx1"/>
                  </a:solidFill>
                </a:rPr>
                <a:t>Highlight security risks which have the </a:t>
              </a:r>
              <a:r>
                <a:rPr lang="en-US" sz="1600" u="sng">
                  <a:solidFill>
                    <a:schemeClr val="tx1"/>
                  </a:solidFill>
                </a:rPr>
                <a:t>potential</a:t>
              </a:r>
              <a:r>
                <a:rPr lang="en-US" sz="1600">
                  <a:solidFill>
                    <a:schemeClr val="tx1"/>
                  </a:solidFill>
                </a:rPr>
                <a:t> to negatively impact the project</a:t>
              </a:r>
            </a:p>
          </p:txBody>
        </p:sp>
        <p:grpSp>
          <p:nvGrpSpPr>
            <p:cNvPr id="27" name="Group 26">
              <a:extLst>
                <a:ext uri="{FF2B5EF4-FFF2-40B4-BE49-F238E27FC236}">
                  <a16:creationId xmlns:a16="http://schemas.microsoft.com/office/drawing/2014/main" id="{19B61CBA-429D-4077-A30C-878F1056E2D6}"/>
                </a:ext>
              </a:extLst>
            </p:cNvPr>
            <p:cNvGrpSpPr/>
            <p:nvPr/>
          </p:nvGrpSpPr>
          <p:grpSpPr>
            <a:xfrm>
              <a:off x="457200" y="3657444"/>
              <a:ext cx="326112" cy="326112"/>
              <a:chOff x="115497" y="1864737"/>
              <a:chExt cx="461744" cy="461744"/>
            </a:xfrm>
            <a:solidFill>
              <a:schemeClr val="tx2"/>
            </a:solidFill>
          </p:grpSpPr>
          <p:sp>
            <p:nvSpPr>
              <p:cNvPr id="28" name="Freeform: Shape 27">
                <a:extLst>
                  <a:ext uri="{FF2B5EF4-FFF2-40B4-BE49-F238E27FC236}">
                    <a16:creationId xmlns:a16="http://schemas.microsoft.com/office/drawing/2014/main" id="{8529BC84-34C1-4571-9516-3E4F2FBF6C6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9" name="Graphic 77">
                <a:extLst>
                  <a:ext uri="{FF2B5EF4-FFF2-40B4-BE49-F238E27FC236}">
                    <a16:creationId xmlns:a16="http://schemas.microsoft.com/office/drawing/2014/main" id="{B9B4E791-5948-41C1-811B-1FFEAFECF85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5617600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Issues</a:t>
            </a:r>
          </a:p>
        </p:txBody>
      </p:sp>
      <p:sp>
        <p:nvSpPr>
          <p:cNvPr id="51" name="Rectangle 50">
            <a:extLst>
              <a:ext uri="{FF2B5EF4-FFF2-40B4-BE49-F238E27FC236}">
                <a16:creationId xmlns:a16="http://schemas.microsoft.com/office/drawing/2014/main" id="{53C33CF7-B99C-4242-B068-B1E55EFBB73A}"/>
              </a:ext>
            </a:extLst>
          </p:cNvPr>
          <p:cNvSpPr/>
          <p:nvPr/>
        </p:nvSpPr>
        <p:spPr>
          <a:xfrm>
            <a:off x="5135336" y="1895262"/>
            <a:ext cx="6599464" cy="45790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ea typeface="+mn-lt"/>
                <a:cs typeface="+mn-lt"/>
              </a:rPr>
              <a:t>Add details here</a:t>
            </a:r>
          </a:p>
          <a:p>
            <a:pPr algn="ctr"/>
            <a:endParaRPr lang="en-US" sz="1600">
              <a:solidFill>
                <a:schemeClr val="tx1"/>
              </a:solidFill>
              <a:cs typeface="Segoe UI"/>
            </a:endParaRPr>
          </a:p>
        </p:txBody>
      </p:sp>
      <p:grpSp>
        <p:nvGrpSpPr>
          <p:cNvPr id="25" name="Group 24">
            <a:extLst>
              <a:ext uri="{FF2B5EF4-FFF2-40B4-BE49-F238E27FC236}">
                <a16:creationId xmlns:a16="http://schemas.microsoft.com/office/drawing/2014/main" id="{9251451E-1ECC-4B74-9C64-BE8AE12D0BAE}"/>
              </a:ext>
            </a:extLst>
          </p:cNvPr>
          <p:cNvGrpSpPr/>
          <p:nvPr/>
        </p:nvGrpSpPr>
        <p:grpSpPr>
          <a:xfrm>
            <a:off x="457200" y="1895262"/>
            <a:ext cx="4302579" cy="830997"/>
            <a:chOff x="457200" y="3405001"/>
            <a:chExt cx="4302579" cy="830997"/>
          </a:xfrm>
        </p:grpSpPr>
        <p:sp>
          <p:nvSpPr>
            <p:cNvPr id="26" name="Rectangle 25">
              <a:extLst>
                <a:ext uri="{FF2B5EF4-FFF2-40B4-BE49-F238E27FC236}">
                  <a16:creationId xmlns:a16="http://schemas.microsoft.com/office/drawing/2014/main" id="{2D25F1DB-E5EF-43B7-90EE-38A06D4259B9}"/>
                </a:ext>
              </a:extLst>
            </p:cNvPr>
            <p:cNvSpPr/>
            <p:nvPr/>
          </p:nvSpPr>
          <p:spPr>
            <a:xfrm>
              <a:off x="506804" y="3405001"/>
              <a:ext cx="4252975"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a:solidFill>
                    <a:schemeClr val="tx1"/>
                  </a:solidFill>
                </a:rPr>
                <a:t>Highlight security issues, that </a:t>
              </a:r>
              <a:r>
                <a:rPr lang="en-US" sz="1600" u="sng">
                  <a:solidFill>
                    <a:schemeClr val="tx1"/>
                  </a:solidFill>
                </a:rPr>
                <a:t>are</a:t>
              </a:r>
              <a:r>
                <a:rPr lang="en-US" sz="1600">
                  <a:solidFill>
                    <a:schemeClr val="tx1"/>
                  </a:solidFill>
                </a:rPr>
                <a:t> either currently negatively impacting the project or </a:t>
              </a:r>
              <a:r>
                <a:rPr lang="en-US" sz="1600" u="sng">
                  <a:solidFill>
                    <a:schemeClr val="tx1"/>
                  </a:solidFill>
                </a:rPr>
                <a:t>will</a:t>
              </a:r>
              <a:r>
                <a:rPr lang="en-US" sz="1600">
                  <a:solidFill>
                    <a:schemeClr val="tx1"/>
                  </a:solidFill>
                </a:rPr>
                <a:t> in the future</a:t>
              </a:r>
            </a:p>
          </p:txBody>
        </p:sp>
        <p:grpSp>
          <p:nvGrpSpPr>
            <p:cNvPr id="27" name="Group 26">
              <a:extLst>
                <a:ext uri="{FF2B5EF4-FFF2-40B4-BE49-F238E27FC236}">
                  <a16:creationId xmlns:a16="http://schemas.microsoft.com/office/drawing/2014/main" id="{19B61CBA-429D-4077-A30C-878F1056E2D6}"/>
                </a:ext>
              </a:extLst>
            </p:cNvPr>
            <p:cNvGrpSpPr/>
            <p:nvPr/>
          </p:nvGrpSpPr>
          <p:grpSpPr>
            <a:xfrm>
              <a:off x="457200" y="3657444"/>
              <a:ext cx="326112" cy="326112"/>
              <a:chOff x="115497" y="1864737"/>
              <a:chExt cx="461744" cy="461744"/>
            </a:xfrm>
            <a:solidFill>
              <a:schemeClr val="tx2"/>
            </a:solidFill>
          </p:grpSpPr>
          <p:sp>
            <p:nvSpPr>
              <p:cNvPr id="28" name="Freeform: Shape 27">
                <a:extLst>
                  <a:ext uri="{FF2B5EF4-FFF2-40B4-BE49-F238E27FC236}">
                    <a16:creationId xmlns:a16="http://schemas.microsoft.com/office/drawing/2014/main" id="{8529BC84-34C1-4571-9516-3E4F2FBF6C6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9" name="Graphic 77">
                <a:extLst>
                  <a:ext uri="{FF2B5EF4-FFF2-40B4-BE49-F238E27FC236}">
                    <a16:creationId xmlns:a16="http://schemas.microsoft.com/office/drawing/2014/main" id="{B9B4E791-5948-41C1-811B-1FFEAFECF85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637951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Q&amp;A</a:t>
            </a:r>
          </a:p>
        </p:txBody>
      </p:sp>
      <p:sp>
        <p:nvSpPr>
          <p:cNvPr id="18" name="Rectangle 17">
            <a:extLst>
              <a:ext uri="{FF2B5EF4-FFF2-40B4-BE49-F238E27FC236}">
                <a16:creationId xmlns:a16="http://schemas.microsoft.com/office/drawing/2014/main" id="{9E0DB5B5-71CC-4A82-83C7-4427225E89B4}"/>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Brief Q&amp;A to discuss any additional topic areas.</a:t>
            </a:r>
          </a:p>
        </p:txBody>
      </p:sp>
      <p:grpSp>
        <p:nvGrpSpPr>
          <p:cNvPr id="19" name="Group 18">
            <a:extLst>
              <a:ext uri="{FF2B5EF4-FFF2-40B4-BE49-F238E27FC236}">
                <a16:creationId xmlns:a16="http://schemas.microsoft.com/office/drawing/2014/main" id="{369EA57D-195B-4FC2-A16F-1D98E98E9A6D}"/>
              </a:ext>
            </a:extLst>
          </p:cNvPr>
          <p:cNvGrpSpPr/>
          <p:nvPr/>
        </p:nvGrpSpPr>
        <p:grpSpPr>
          <a:xfrm>
            <a:off x="457200" y="1993398"/>
            <a:ext cx="326112" cy="326112"/>
            <a:chOff x="115497" y="1864737"/>
            <a:chExt cx="461744" cy="461744"/>
          </a:xfrm>
          <a:solidFill>
            <a:schemeClr val="tx2"/>
          </a:solidFill>
        </p:grpSpPr>
        <p:sp>
          <p:nvSpPr>
            <p:cNvPr id="20" name="Freeform: Shape 19">
              <a:extLst>
                <a:ext uri="{FF2B5EF4-FFF2-40B4-BE49-F238E27FC236}">
                  <a16:creationId xmlns:a16="http://schemas.microsoft.com/office/drawing/2014/main" id="{6D5F158D-72EA-4FD7-9A32-476745931B0D}"/>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Graphic 77">
              <a:extLst>
                <a:ext uri="{FF2B5EF4-FFF2-40B4-BE49-F238E27FC236}">
                  <a16:creationId xmlns:a16="http://schemas.microsoft.com/office/drawing/2014/main" id="{3CA31C58-F974-4272-8468-1BE1EE27E61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8" name="Rectangle 37">
            <a:extLst>
              <a:ext uri="{FF2B5EF4-FFF2-40B4-BE49-F238E27FC236}">
                <a16:creationId xmlns:a16="http://schemas.microsoft.com/office/drawing/2014/main" id="{54FDBA81-4E94-4312-93CB-C497C8DC0C5E}"/>
              </a:ext>
            </a:extLst>
          </p:cNvPr>
          <p:cNvSpPr/>
          <p:nvPr/>
        </p:nvSpPr>
        <p:spPr>
          <a:xfrm>
            <a:off x="6810998" y="1895262"/>
            <a:ext cx="4923802" cy="46198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List questions and follow up actions</a:t>
            </a:r>
          </a:p>
        </p:txBody>
      </p:sp>
    </p:spTree>
    <p:extLst>
      <p:ext uri="{BB962C8B-B14F-4D97-AF65-F5344CB8AC3E}">
        <p14:creationId xmlns:p14="http://schemas.microsoft.com/office/powerpoint/2010/main" val="8556318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a:cs typeface="Segoe UI"/>
              </a:rPr>
              <a:t>Next steps</a:t>
            </a:r>
            <a:endParaRPr lang="en-US"/>
          </a:p>
        </p:txBody>
      </p:sp>
      <p:sp>
        <p:nvSpPr>
          <p:cNvPr id="26" name="Rectangle 25">
            <a:extLst>
              <a:ext uri="{FF2B5EF4-FFF2-40B4-BE49-F238E27FC236}">
                <a16:creationId xmlns:a16="http://schemas.microsoft.com/office/drawing/2014/main" id="{3EE3908A-E7B2-4491-9919-73E1BE3FA993}"/>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Discuss next steps and action items.</a:t>
            </a:r>
          </a:p>
        </p:txBody>
      </p:sp>
      <p:grpSp>
        <p:nvGrpSpPr>
          <p:cNvPr id="28" name="Group 27">
            <a:extLst>
              <a:ext uri="{FF2B5EF4-FFF2-40B4-BE49-F238E27FC236}">
                <a16:creationId xmlns:a16="http://schemas.microsoft.com/office/drawing/2014/main" id="{5EB24ABA-7791-4106-98DF-BC19E22E4C94}"/>
              </a:ext>
            </a:extLst>
          </p:cNvPr>
          <p:cNvGrpSpPr/>
          <p:nvPr/>
        </p:nvGrpSpPr>
        <p:grpSpPr>
          <a:xfrm>
            <a:off x="457200" y="1993398"/>
            <a:ext cx="326112" cy="326112"/>
            <a:chOff x="115497" y="1864737"/>
            <a:chExt cx="461744" cy="461744"/>
          </a:xfrm>
          <a:solidFill>
            <a:schemeClr val="tx2"/>
          </a:solidFill>
        </p:grpSpPr>
        <p:sp>
          <p:nvSpPr>
            <p:cNvPr id="29" name="Freeform: Shape 28">
              <a:extLst>
                <a:ext uri="{FF2B5EF4-FFF2-40B4-BE49-F238E27FC236}">
                  <a16:creationId xmlns:a16="http://schemas.microsoft.com/office/drawing/2014/main" id="{D6BC7BB6-3E3D-4013-9223-2902E1AC58E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Graphic 77">
              <a:extLst>
                <a:ext uri="{FF2B5EF4-FFF2-40B4-BE49-F238E27FC236}">
                  <a16:creationId xmlns:a16="http://schemas.microsoft.com/office/drawing/2014/main" id="{7945BD11-124E-4F10-9642-9099F23D22A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1" name="Rectangle 30">
            <a:extLst>
              <a:ext uri="{FF2B5EF4-FFF2-40B4-BE49-F238E27FC236}">
                <a16:creationId xmlns:a16="http://schemas.microsoft.com/office/drawing/2014/main" id="{A35E9EE8-3792-4935-BDF4-3CC3B6FBB0A0}"/>
              </a:ext>
            </a:extLst>
          </p:cNvPr>
          <p:cNvSpPr/>
          <p:nvPr/>
        </p:nvSpPr>
        <p:spPr>
          <a:xfrm>
            <a:off x="6810998" y="1895262"/>
            <a:ext cx="4923802" cy="46198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List next steps and action items</a:t>
            </a:r>
          </a:p>
        </p:txBody>
      </p:sp>
    </p:spTree>
    <p:extLst>
      <p:ext uri="{BB962C8B-B14F-4D97-AF65-F5344CB8AC3E}">
        <p14:creationId xmlns:p14="http://schemas.microsoft.com/office/powerpoint/2010/main" val="26339775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D4A6C5B7-1FF9-40ED-B5CF-C60C02256475}"/>
              </a:ext>
            </a:extLst>
          </p:cNvPr>
          <p:cNvSpPr txBox="1">
            <a:spLocks noGrp="1"/>
          </p:cNvSpPr>
          <p:nvPr>
            <p:ph type="title" idx="4294967295"/>
          </p:nvPr>
        </p:nvSpPr>
        <p:spPr>
          <a:xfrm>
            <a:off x="585216" y="2651888"/>
            <a:ext cx="11206734" cy="1554224"/>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50" normalizeH="0" baseline="0" noProof="0">
                <a:ln w="3175">
                  <a:noFill/>
                </a:ln>
                <a:solidFill>
                  <a:schemeClr val="tx1"/>
                </a:solidFill>
                <a:effectLst/>
                <a:uLnTx/>
                <a:uFillTx/>
                <a:latin typeface="+mj-lt"/>
                <a:ea typeface="+mn-ea"/>
                <a:cs typeface="Segoe UI"/>
              </a:rPr>
              <a:t>Security strategy </a:t>
            </a:r>
            <a:br>
              <a:rPr kumimoji="0" lang="en-US" sz="4400" b="0" i="0" u="none" strike="noStrike" kern="1200" cap="none" spc="-50" normalizeH="0" baseline="0" noProof="0">
                <a:ln w="3175">
                  <a:noFill/>
                </a:ln>
                <a:solidFill>
                  <a:srgbClr val="4CCBED"/>
                </a:solidFill>
                <a:effectLst/>
                <a:uLnTx/>
                <a:uFillTx/>
                <a:latin typeface="+mj-lt"/>
                <a:ea typeface="+mn-ea"/>
                <a:cs typeface="Segoe UI"/>
              </a:rPr>
            </a:br>
            <a:r>
              <a:rPr kumimoji="0" lang="en-US" sz="4400" b="0" i="0" u="none" strike="noStrike" kern="1200" cap="none" spc="-50" normalizeH="0" baseline="0" noProof="0">
                <a:ln w="3175">
                  <a:noFill/>
                </a:ln>
                <a:solidFill>
                  <a:srgbClr val="4CCBED"/>
                </a:solidFill>
                <a:effectLst/>
                <a:uLnTx/>
                <a:uFillTx/>
                <a:latin typeface="+mj-lt"/>
                <a:ea typeface="+mn-ea"/>
                <a:cs typeface="Segoe UI"/>
              </a:rPr>
              <a:t>Resources</a:t>
            </a:r>
          </a:p>
        </p:txBody>
      </p:sp>
    </p:spTree>
    <p:extLst>
      <p:ext uri="{BB962C8B-B14F-4D97-AF65-F5344CB8AC3E}">
        <p14:creationId xmlns:p14="http://schemas.microsoft.com/office/powerpoint/2010/main" val="36803934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620256" y="431890"/>
            <a:ext cx="11018520" cy="553998"/>
          </a:xfrm>
        </p:spPr>
        <p:txBody>
          <a:bodyPr/>
          <a:lstStyle/>
          <a:p>
            <a:r>
              <a:rPr lang="en-GB"/>
              <a:t>Resources	</a:t>
            </a:r>
          </a:p>
        </p:txBody>
      </p:sp>
      <p:sp>
        <p:nvSpPr>
          <p:cNvPr id="45" name="TextBox 44">
            <a:extLst>
              <a:ext uri="{FF2B5EF4-FFF2-40B4-BE49-F238E27FC236}">
                <a16:creationId xmlns:a16="http://schemas.microsoft.com/office/drawing/2014/main" id="{9CF9285A-7BFF-451A-BA78-1DA1104DBBB8}"/>
              </a:ext>
            </a:extLst>
          </p:cNvPr>
          <p:cNvSpPr txBox="1"/>
          <p:nvPr/>
        </p:nvSpPr>
        <p:spPr>
          <a:xfrm>
            <a:off x="457200" y="1238870"/>
            <a:ext cx="11099978" cy="3293209"/>
          </a:xfrm>
          <a:prstGeom prst="rect">
            <a:avLst/>
          </a:prstGeom>
          <a:noFill/>
        </p:spPr>
        <p:txBody>
          <a:bodyPr wrap="square">
            <a:spAutoFit/>
          </a:bodyPr>
          <a:lstStyle/>
          <a:p>
            <a:r>
              <a:rPr lang="en-US" sz="2000"/>
              <a:t>Learn</a:t>
            </a:r>
          </a:p>
          <a:p>
            <a:pPr marL="171450" indent="-171450">
              <a:buFont typeface="Arial" panose="020B0604020202020204" pitchFamily="34" charset="0"/>
              <a:buChar char="•"/>
            </a:pPr>
            <a:r>
              <a:rPr lang="en-US" sz="1200"/>
              <a:t>Success by Design Security Strategy (</a:t>
            </a:r>
            <a:r>
              <a:rPr lang="en-US" sz="1200">
                <a:hlinkClick r:id="rId3"/>
              </a:rPr>
              <a:t>https://docs.microsoft.com/learn/modules/fast-track-security/2-security-workshop-topics</a:t>
            </a:r>
            <a:r>
              <a:rPr lang="en-US" sz="1200"/>
              <a:t>) </a:t>
            </a:r>
          </a:p>
          <a:p>
            <a:pPr marL="171450" indent="-171450">
              <a:buFont typeface="Arial" panose="020B0604020202020204" pitchFamily="34" charset="0"/>
              <a:buChar char="•"/>
            </a:pPr>
            <a:r>
              <a:rPr lang="en-US" sz="1200"/>
              <a:t>Plan and implement security in Finance and Operations apps (</a:t>
            </a:r>
            <a:r>
              <a:rPr lang="en-US" sz="1200">
                <a:hlinkClick r:id="rId4"/>
              </a:rPr>
              <a:t>https://docs.microsoft.com/learn/modules/plan-implement-security-finance-operations/</a:t>
            </a:r>
            <a:r>
              <a:rPr lang="en-US" sz="1200"/>
              <a:t>)</a:t>
            </a:r>
          </a:p>
          <a:p>
            <a:pPr marL="285750" indent="-285750">
              <a:buFont typeface="Arial" panose="020B0604020202020204" pitchFamily="34" charset="0"/>
              <a:buChar char="•"/>
            </a:pPr>
            <a:endParaRPr lang="en-US" sz="1600"/>
          </a:p>
          <a:p>
            <a:endParaRPr lang="en-US" sz="2000"/>
          </a:p>
          <a:p>
            <a:r>
              <a:rPr lang="en-US" sz="2000"/>
              <a:t>Documentation</a:t>
            </a:r>
            <a:r>
              <a:rPr lang="en-US" sz="1800"/>
              <a:t> </a:t>
            </a:r>
          </a:p>
          <a:p>
            <a:pPr marL="171450" indent="-171450">
              <a:buFont typeface="Arial" panose="020B0604020202020204" pitchFamily="34" charset="0"/>
              <a:buChar char="•"/>
            </a:pPr>
            <a:r>
              <a:rPr lang="fr-FR" sz="1200" b="0"/>
              <a:t>Security in Microsoft Dataverse </a:t>
            </a:r>
            <a:r>
              <a:rPr lang="fr-FR" sz="1200"/>
              <a:t>(</a:t>
            </a:r>
            <a:r>
              <a:rPr lang="fr-FR" sz="1200">
                <a:hlinkClick r:id="rId5"/>
              </a:rPr>
              <a:t>https://docs.microsoft.com/power-platform/admin/wp-security</a:t>
            </a:r>
            <a:r>
              <a:rPr lang="fr-FR" sz="1200"/>
              <a:t>) </a:t>
            </a:r>
          </a:p>
          <a:p>
            <a:pPr marL="171450" indent="-171450">
              <a:buFont typeface="Arial" panose="020B0604020202020204" pitchFamily="34" charset="0"/>
              <a:buChar char="•"/>
            </a:pPr>
            <a:r>
              <a:rPr lang="en-US" sz="1200" noProof="0"/>
              <a:t>Security and data access (</a:t>
            </a:r>
            <a:r>
              <a:rPr lang="en-US" sz="1200" noProof="0">
                <a:hlinkClick r:id="rId6"/>
              </a:rPr>
              <a:t>https://docs.microsoft.com/powerapps/developer/data-platform/security-model</a:t>
            </a:r>
            <a:r>
              <a:rPr lang="en-US" sz="1200" noProof="0"/>
              <a:t>) </a:t>
            </a:r>
          </a:p>
          <a:p>
            <a:pPr marL="171450" indent="-171450">
              <a:buFont typeface="Arial" panose="020B0604020202020204" pitchFamily="34" charset="0"/>
              <a:buChar char="•"/>
            </a:pPr>
            <a:r>
              <a:rPr lang="en-US" sz="1200" noProof="0"/>
              <a:t>Role-based security in Finance and Operations (</a:t>
            </a:r>
            <a:r>
              <a:rPr lang="en-US" sz="1200" noProof="0">
                <a:hlinkClick r:id="rId7"/>
              </a:rPr>
              <a:t>https://docs.microsoft.com/</a:t>
            </a:r>
            <a:r>
              <a:rPr lang="en-US" sz="1200" noProof="0" err="1">
                <a:hlinkClick r:id="rId7"/>
              </a:rPr>
              <a:t>en</a:t>
            </a:r>
            <a:r>
              <a:rPr lang="en-US" sz="1200" noProof="0">
                <a:hlinkClick r:id="rId7"/>
              </a:rPr>
              <a:t>-us/dynamics365/fin-ops-core/dev-</a:t>
            </a:r>
            <a:r>
              <a:rPr lang="en-US" sz="1200" noProof="0" err="1">
                <a:hlinkClick r:id="rId7"/>
              </a:rPr>
              <a:t>itpro</a:t>
            </a:r>
            <a:r>
              <a:rPr lang="en-US" sz="1200" noProof="0">
                <a:hlinkClick r:id="rId7"/>
              </a:rPr>
              <a:t>/sysadmin/role-based-security</a:t>
            </a:r>
            <a:r>
              <a:rPr lang="en-US" sz="1200" noProof="0"/>
              <a:t>) </a:t>
            </a:r>
          </a:p>
          <a:p>
            <a:pPr marL="171450" indent="-171450">
              <a:buFont typeface="Arial" panose="020B0604020202020204" pitchFamily="34" charset="0"/>
              <a:buChar char="•"/>
            </a:pPr>
            <a:endParaRPr lang="en-US" sz="1200"/>
          </a:p>
          <a:p>
            <a:pPr marL="171450" indent="-171450">
              <a:buFont typeface="Arial" panose="020B0604020202020204" pitchFamily="34" charset="0"/>
              <a:buChar char="•"/>
            </a:pPr>
            <a:endParaRPr lang="en-US" sz="1200"/>
          </a:p>
          <a:p>
            <a:pPr marL="171450" indent="-171450">
              <a:buFont typeface="Arial" panose="020B0604020202020204" pitchFamily="34" charset="0"/>
              <a:buChar char="•"/>
            </a:pPr>
            <a:endParaRPr lang="en-US" sz="1600"/>
          </a:p>
          <a:p>
            <a:r>
              <a:rPr lang="en-US" sz="2000"/>
              <a:t>FastTrack TechTalks</a:t>
            </a:r>
          </a:p>
          <a:p>
            <a:pPr marL="285750" indent="-285750">
              <a:buFont typeface="Arial" panose="020B0604020202020204" pitchFamily="34" charset="0"/>
              <a:buChar char="•"/>
            </a:pPr>
            <a:r>
              <a:rPr lang="en-US" sz="1200"/>
              <a:t>Microsoft Dynamics 365 FastTrack TechTalks (</a:t>
            </a:r>
            <a:r>
              <a:rPr lang="en-US" sz="1200">
                <a:hlinkClick r:id="rId8"/>
              </a:rPr>
              <a:t>https://community.dynamics.com/365/b/techtalks</a:t>
            </a:r>
            <a:r>
              <a:rPr lang="en-US" sz="1200"/>
              <a:t>) </a:t>
            </a:r>
          </a:p>
        </p:txBody>
      </p:sp>
    </p:spTree>
    <p:extLst>
      <p:ext uri="{BB962C8B-B14F-4D97-AF65-F5344CB8AC3E}">
        <p14:creationId xmlns:p14="http://schemas.microsoft.com/office/powerpoint/2010/main" val="5458470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B7DD339-5C08-46FC-8731-430C31DC143F}"/>
              </a:ext>
            </a:extLst>
          </p:cNvPr>
          <p:cNvSpPr>
            <a:spLocks noGrp="1"/>
          </p:cNvSpPr>
          <p:nvPr>
            <p:ph type="title"/>
          </p:nvPr>
        </p:nvSpPr>
        <p:spPr/>
        <p:txBody>
          <a:bodyPr/>
          <a:lstStyle/>
          <a:p>
            <a:r>
              <a:rPr lang="en-GB"/>
              <a:t>The role of FastTrack</a:t>
            </a:r>
          </a:p>
        </p:txBody>
      </p:sp>
      <p:sp>
        <p:nvSpPr>
          <p:cNvPr id="6" name="Text Placeholder 5">
            <a:extLst>
              <a:ext uri="{FF2B5EF4-FFF2-40B4-BE49-F238E27FC236}">
                <a16:creationId xmlns:a16="http://schemas.microsoft.com/office/drawing/2014/main" id="{3858C028-4AE4-4BBE-94FB-B9D03D7ED23F}"/>
              </a:ext>
            </a:extLst>
          </p:cNvPr>
          <p:cNvSpPr>
            <a:spLocks noGrp="1"/>
          </p:cNvSpPr>
          <p:nvPr>
            <p:ph type="body" sz="quarter" idx="10"/>
          </p:nvPr>
        </p:nvSpPr>
        <p:spPr>
          <a:xfrm>
            <a:off x="591309" y="1325976"/>
            <a:ext cx="5378548" cy="4647426"/>
          </a:xfrm>
        </p:spPr>
        <p:txBody>
          <a:bodyPr/>
          <a:lstStyle/>
          <a:p>
            <a:r>
              <a:rPr lang="en-GB" sz="2800">
                <a:solidFill>
                  <a:schemeClr val="accent1"/>
                </a:solidFill>
              </a:rPr>
              <a:t>In scope</a:t>
            </a:r>
          </a:p>
          <a:p>
            <a:pPr marL="519112" indent="-342900">
              <a:buSzPct val="100000"/>
              <a:buFont typeface="Arial" panose="020B0604020202020204" pitchFamily="34" charset="0"/>
              <a:buChar char="•"/>
            </a:pPr>
            <a:r>
              <a:rPr lang="en-GB" sz="2000">
                <a:solidFill>
                  <a:schemeClr val="tx1"/>
                </a:solidFill>
              </a:rPr>
              <a:t>Security topics on areas that relate to the implementation of Dynamics 365</a:t>
            </a:r>
          </a:p>
          <a:p>
            <a:pPr marL="519112" indent="-342900">
              <a:buSzPct val="100000"/>
              <a:buFont typeface="Arial" panose="020B0604020202020204" pitchFamily="34" charset="0"/>
              <a:buChar char="•"/>
            </a:pPr>
            <a:r>
              <a:rPr lang="en-GB" sz="2000">
                <a:solidFill>
                  <a:schemeClr val="tx1"/>
                </a:solidFill>
              </a:rPr>
              <a:t>Review the answers provided </a:t>
            </a:r>
          </a:p>
          <a:p>
            <a:pPr marL="519112" indent="-342900">
              <a:buSzPct val="100000"/>
              <a:buFont typeface="Arial" panose="020B0604020202020204" pitchFamily="34" charset="0"/>
              <a:buChar char="•"/>
            </a:pPr>
            <a:r>
              <a:rPr lang="en-GB" sz="2000">
                <a:solidFill>
                  <a:schemeClr val="tx1"/>
                </a:solidFill>
              </a:rPr>
              <a:t>Provide findings and recommendations following the workshop presentation</a:t>
            </a:r>
          </a:p>
          <a:p>
            <a:pPr marL="519112" indent="-342900">
              <a:buSzPct val="100000"/>
              <a:buFont typeface="Arial" panose="020B0604020202020204" pitchFamily="34" charset="0"/>
              <a:buChar char="•"/>
            </a:pPr>
            <a:r>
              <a:rPr lang="en-GB" sz="2000">
                <a:solidFill>
                  <a:schemeClr val="tx1"/>
                </a:solidFill>
              </a:rPr>
              <a:t>Highlight technical and project risks and issues (including unrealistic product expectations)</a:t>
            </a:r>
          </a:p>
          <a:p>
            <a:pPr marL="519112" indent="-342900">
              <a:buSzPct val="100000"/>
              <a:buFont typeface="Arial" panose="020B0604020202020204" pitchFamily="34" charset="0"/>
              <a:buChar char="•"/>
            </a:pPr>
            <a:r>
              <a:rPr lang="en-GB" sz="2000">
                <a:solidFill>
                  <a:schemeClr val="tx1"/>
                </a:solidFill>
              </a:rPr>
              <a:t>Point out gaps in the plan and solution strategy that can result in an unsuccessful implementation</a:t>
            </a:r>
          </a:p>
        </p:txBody>
      </p:sp>
      <p:sp>
        <p:nvSpPr>
          <p:cNvPr id="7" name="Text Placeholder 6">
            <a:extLst>
              <a:ext uri="{FF2B5EF4-FFF2-40B4-BE49-F238E27FC236}">
                <a16:creationId xmlns:a16="http://schemas.microsoft.com/office/drawing/2014/main" id="{11EF1AD8-8B3A-4133-A284-5E7968D490BC}"/>
              </a:ext>
            </a:extLst>
          </p:cNvPr>
          <p:cNvSpPr>
            <a:spLocks noGrp="1"/>
          </p:cNvSpPr>
          <p:nvPr>
            <p:ph type="body" sz="quarter" idx="11"/>
          </p:nvPr>
        </p:nvSpPr>
        <p:spPr>
          <a:xfrm>
            <a:off x="6228235" y="1325976"/>
            <a:ext cx="5378548" cy="3724096"/>
          </a:xfrm>
        </p:spPr>
        <p:txBody>
          <a:bodyPr/>
          <a:lstStyle/>
          <a:p>
            <a:r>
              <a:rPr lang="en-GB" sz="2800">
                <a:solidFill>
                  <a:schemeClr val="accent1"/>
                </a:solidFill>
              </a:rPr>
              <a:t>Out of scope</a:t>
            </a:r>
          </a:p>
          <a:p>
            <a:pPr marL="519112" indent="-342900">
              <a:buSzPct val="100000"/>
              <a:buFont typeface="Arial" panose="020B0604020202020204" pitchFamily="34" charset="0"/>
              <a:buChar char="•"/>
            </a:pPr>
            <a:r>
              <a:rPr lang="en-GB" sz="2000">
                <a:solidFill>
                  <a:schemeClr val="tx1"/>
                </a:solidFill>
              </a:rPr>
              <a:t>Create a solution architecture based on findings</a:t>
            </a:r>
          </a:p>
          <a:p>
            <a:pPr marL="519112" indent="-342900">
              <a:buSzPct val="100000"/>
              <a:buFont typeface="Arial" panose="020B0604020202020204" pitchFamily="34" charset="0"/>
              <a:buChar char="•"/>
            </a:pPr>
            <a:r>
              <a:rPr lang="en-GB" sz="2000">
                <a:solidFill>
                  <a:schemeClr val="tx1"/>
                </a:solidFill>
              </a:rPr>
              <a:t>Decide on solutions that best fit gaps identified</a:t>
            </a:r>
          </a:p>
          <a:p>
            <a:pPr marL="519112" indent="-342900">
              <a:buSzPct val="100000"/>
              <a:buFont typeface="Arial" panose="020B0604020202020204" pitchFamily="34" charset="0"/>
              <a:buChar char="•"/>
            </a:pPr>
            <a:r>
              <a:rPr lang="en-GB" sz="2000">
                <a:solidFill>
                  <a:schemeClr val="tx1"/>
                </a:solidFill>
              </a:rPr>
              <a:t>Code review</a:t>
            </a:r>
          </a:p>
          <a:p>
            <a:pPr marL="519112" indent="-342900">
              <a:buSzPct val="100000"/>
              <a:buFont typeface="Arial" panose="020B0604020202020204" pitchFamily="34" charset="0"/>
              <a:buChar char="•"/>
            </a:pPr>
            <a:r>
              <a:rPr lang="en-GB" sz="2000">
                <a:solidFill>
                  <a:schemeClr val="tx1"/>
                </a:solidFill>
              </a:rPr>
              <a:t>Provide training on product features (user or administrative)</a:t>
            </a:r>
          </a:p>
          <a:p>
            <a:pPr marL="519112" indent="-342900">
              <a:buSzPct val="100000"/>
              <a:buFont typeface="Arial" panose="020B0604020202020204" pitchFamily="34" charset="0"/>
              <a:buChar char="•"/>
            </a:pPr>
            <a:r>
              <a:rPr lang="en-GB" sz="2000">
                <a:solidFill>
                  <a:schemeClr val="tx1"/>
                </a:solidFill>
              </a:rPr>
              <a:t>Create comparison between ISV solutions</a:t>
            </a:r>
          </a:p>
        </p:txBody>
      </p:sp>
    </p:spTree>
    <p:extLst>
      <p:ext uri="{BB962C8B-B14F-4D97-AF65-F5344CB8AC3E}">
        <p14:creationId xmlns:p14="http://schemas.microsoft.com/office/powerpoint/2010/main" val="2179969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199" y="5867714"/>
            <a:ext cx="8552961" cy="698775"/>
          </a:xfrm>
          <a:prstGeom prst="rect">
            <a:avLst/>
          </a:prstGeom>
          <a:noFill/>
        </p:spPr>
        <p:txBody>
          <a:bodyPr wrap="square" lIns="0" tIns="0" rIns="0" bIns="0" rtlCol="0" anchor="t" anchorCtr="0">
            <a:noAutofit/>
          </a:bodyPr>
          <a:lstStyle/>
          <a:p>
            <a:pPr defTabSz="914225">
              <a:spcAft>
                <a:spcPts val="600"/>
              </a:spcAft>
            </a:pPr>
            <a:r>
              <a:rPr lang="en-US" sz="784" kern="0">
                <a:latin typeface="Segoe UI"/>
              </a:rPr>
              <a:t>© 2020 Microsoft Corporation. All rights reserved. Microsoft, Microsoft Dynamics, Office 365, Windows, and other product names are or may be registered trademarks and/or trademarks in </a:t>
            </a:r>
            <a:br>
              <a:rPr lang="en-US" sz="784" kern="0">
                <a:latin typeface="Segoe UI"/>
              </a:rPr>
            </a:br>
            <a:r>
              <a:rPr lang="en-US" sz="784" kern="0">
                <a:latin typeface="Segoe UI"/>
              </a:rPr>
              <a:t>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8" name="Picture 7">
            <a:extLst>
              <a:ext uri="{FF2B5EF4-FFF2-40B4-BE49-F238E27FC236}">
                <a16:creationId xmlns:a16="http://schemas.microsoft.com/office/drawing/2014/main" id="{C7F3306B-47D1-4275-8784-D37237CA5F9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0" y="3090736"/>
            <a:ext cx="3143873" cy="676529"/>
          </a:xfrm>
          <a:prstGeom prst="rect">
            <a:avLst/>
          </a:prstGeom>
        </p:spPr>
      </p:pic>
      <p:sp>
        <p:nvSpPr>
          <p:cNvPr id="3" name="Title 2">
            <a:extLst>
              <a:ext uri="{FF2B5EF4-FFF2-40B4-BE49-F238E27FC236}">
                <a16:creationId xmlns:a16="http://schemas.microsoft.com/office/drawing/2014/main" id="{5E56AECC-CE94-45D1-8ED2-2915F62912C7}"/>
              </a:ext>
            </a:extLst>
          </p:cNvPr>
          <p:cNvSpPr>
            <a:spLocks noGrp="1"/>
          </p:cNvSpPr>
          <p:nvPr>
            <p:ph type="title" idx="4294967295"/>
          </p:nvPr>
        </p:nvSpPr>
        <p:spPr>
          <a:xfrm>
            <a:off x="588263" y="-553998"/>
            <a:ext cx="11018520" cy="553998"/>
          </a:xfrm>
        </p:spPr>
        <p:txBody>
          <a:bodyPr vert="horz" wrap="square" lIns="0" tIns="0" rIns="0" bIns="0" rtlCol="0" anchor="b">
            <a:spAutoFit/>
          </a:bodyPr>
          <a:lstStyle/>
          <a:p>
            <a:r>
              <a:rPr lang="en-US"/>
              <a:t>End of Presentation</a:t>
            </a:r>
          </a:p>
        </p:txBody>
      </p:sp>
    </p:spTree>
    <p:extLst>
      <p:ext uri="{BB962C8B-B14F-4D97-AF65-F5344CB8AC3E}">
        <p14:creationId xmlns:p14="http://schemas.microsoft.com/office/powerpoint/2010/main" val="112993390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610B21-2ECC-44E0-86AF-D74811AF72AC}"/>
              </a:ext>
            </a:extLst>
          </p:cNvPr>
          <p:cNvSpPr>
            <a:spLocks noGrp="1"/>
          </p:cNvSpPr>
          <p:nvPr>
            <p:ph type="title"/>
          </p:nvPr>
        </p:nvSpPr>
        <p:spPr>
          <a:xfrm>
            <a:off x="588263" y="426423"/>
            <a:ext cx="11018520" cy="615553"/>
          </a:xfrm>
        </p:spPr>
        <p:txBody>
          <a:bodyPr/>
          <a:lstStyle/>
          <a:p>
            <a:r>
              <a:rPr lang="en-GB">
                <a:cs typeface="Segoe UI"/>
              </a:rPr>
              <a:t>Instructions for customer and partner</a:t>
            </a:r>
          </a:p>
        </p:txBody>
      </p:sp>
      <p:sp>
        <p:nvSpPr>
          <p:cNvPr id="4" name="Content Placeholder 3">
            <a:extLst>
              <a:ext uri="{FF2B5EF4-FFF2-40B4-BE49-F238E27FC236}">
                <a16:creationId xmlns:a16="http://schemas.microsoft.com/office/drawing/2014/main" id="{7CE4786D-C856-4ED1-AD42-4D6D5704E74E}"/>
              </a:ext>
            </a:extLst>
          </p:cNvPr>
          <p:cNvSpPr>
            <a:spLocks noGrp="1"/>
          </p:cNvSpPr>
          <p:nvPr>
            <p:ph sz="quarter" idx="10"/>
          </p:nvPr>
        </p:nvSpPr>
        <p:spPr>
          <a:xfrm>
            <a:off x="588263" y="1943100"/>
            <a:ext cx="11309350" cy="4385816"/>
          </a:xfrm>
        </p:spPr>
        <p:txBody>
          <a:bodyPr/>
          <a:lstStyle/>
          <a:p>
            <a:pPr marL="457200" indent="-457200">
              <a:lnSpc>
                <a:spcPct val="100000"/>
              </a:lnSpc>
              <a:spcBef>
                <a:spcPts val="0"/>
              </a:spcBef>
              <a:spcAft>
                <a:spcPts val="1200"/>
              </a:spcAft>
              <a:buFont typeface="+mj-lt"/>
              <a:buAutoNum type="arabicPeriod"/>
            </a:pPr>
            <a:r>
              <a:rPr lang="en-GB" sz="2200"/>
              <a:t>Complete each slide providing the required information</a:t>
            </a:r>
          </a:p>
          <a:p>
            <a:pPr marL="457200" indent="-457200">
              <a:lnSpc>
                <a:spcPct val="100000"/>
              </a:lnSpc>
              <a:spcBef>
                <a:spcPts val="0"/>
              </a:spcBef>
              <a:spcAft>
                <a:spcPts val="1200"/>
              </a:spcAft>
              <a:buFont typeface="+mj-lt"/>
              <a:buAutoNum type="arabicPeriod"/>
            </a:pPr>
            <a:r>
              <a:rPr lang="en-GB" sz="2200"/>
              <a:t>Skip slides that are not applicable to your project:</a:t>
            </a:r>
          </a:p>
          <a:p>
            <a:pPr marL="628650" lvl="1" indent="0">
              <a:spcBef>
                <a:spcPts val="0"/>
              </a:spcBef>
              <a:spcAft>
                <a:spcPts val="600"/>
              </a:spcAft>
              <a:buNone/>
            </a:pPr>
            <a:r>
              <a:rPr lang="en-GB" sz="2200"/>
              <a:t>	only apply to Dynamics 365 Finance and Operations applications</a:t>
            </a:r>
          </a:p>
          <a:p>
            <a:pPr marL="628650" lvl="1" indent="0">
              <a:spcBef>
                <a:spcPts val="0"/>
              </a:spcBef>
              <a:spcAft>
                <a:spcPts val="600"/>
              </a:spcAft>
              <a:buNone/>
            </a:pPr>
            <a:r>
              <a:rPr lang="en-GB" sz="2200"/>
              <a:t>	only apply to Dynamics 365 Human Resources</a:t>
            </a:r>
          </a:p>
          <a:p>
            <a:pPr marL="628650" lvl="1" indent="0">
              <a:spcBef>
                <a:spcPts val="0"/>
              </a:spcBef>
              <a:spcAft>
                <a:spcPts val="600"/>
              </a:spcAft>
              <a:buNone/>
            </a:pPr>
            <a:r>
              <a:rPr lang="en-GB" sz="2200"/>
              <a:t>	only apply to Dynamics 365 Customer Engagement applications</a:t>
            </a:r>
          </a:p>
          <a:p>
            <a:pPr marL="457200" indent="-457200">
              <a:lnSpc>
                <a:spcPct val="100000"/>
              </a:lnSpc>
              <a:spcBef>
                <a:spcPts val="1200"/>
              </a:spcBef>
              <a:spcAft>
                <a:spcPts val="1200"/>
              </a:spcAft>
              <a:buFont typeface="+mj-lt"/>
              <a:buAutoNum type="arabicPeriod"/>
            </a:pPr>
            <a:r>
              <a:rPr lang="en-GB" sz="2200"/>
              <a:t>Extend topic area slides to capture the required information if needed. </a:t>
            </a:r>
            <a:br>
              <a:rPr lang="en-GB" sz="2200"/>
            </a:br>
            <a:r>
              <a:rPr lang="en-GB" sz="2200"/>
              <a:t>Do not hesitate to paste your own slides.</a:t>
            </a:r>
          </a:p>
          <a:p>
            <a:pPr marL="457200" indent="-457200">
              <a:lnSpc>
                <a:spcPct val="100000"/>
              </a:lnSpc>
              <a:spcBef>
                <a:spcPts val="0"/>
              </a:spcBef>
              <a:spcAft>
                <a:spcPts val="1200"/>
              </a:spcAft>
              <a:buFont typeface="+mj-lt"/>
              <a:buAutoNum type="arabicPeriod"/>
            </a:pPr>
            <a:r>
              <a:rPr lang="en-GB" sz="2200"/>
              <a:t>Reach out to your FastTrack SA if you have questions on the format or content</a:t>
            </a:r>
          </a:p>
          <a:p>
            <a:pPr marL="457200" indent="-457200">
              <a:lnSpc>
                <a:spcPct val="100000"/>
              </a:lnSpc>
              <a:spcBef>
                <a:spcPts val="0"/>
              </a:spcBef>
              <a:spcAft>
                <a:spcPts val="1200"/>
              </a:spcAft>
              <a:buFont typeface="+mj-lt"/>
              <a:buAutoNum type="arabicPeriod"/>
            </a:pPr>
            <a:r>
              <a:rPr lang="en-GB" sz="2200"/>
              <a:t>Send completed deck back to the FastTrack SA 5 business days before the scheduled Solution Blueprint workshop.</a:t>
            </a:r>
          </a:p>
        </p:txBody>
      </p:sp>
      <p:sp>
        <p:nvSpPr>
          <p:cNvPr id="2" name="Text Placeholder 1">
            <a:extLst>
              <a:ext uri="{FF2B5EF4-FFF2-40B4-BE49-F238E27FC236}">
                <a16:creationId xmlns:a16="http://schemas.microsoft.com/office/drawing/2014/main" id="{98ED09A5-A38C-4A4E-B308-A11A4BF5F4B8}"/>
              </a:ext>
            </a:extLst>
          </p:cNvPr>
          <p:cNvSpPr>
            <a:spLocks noGrp="1"/>
          </p:cNvSpPr>
          <p:nvPr>
            <p:ph type="body" sz="quarter" idx="11"/>
          </p:nvPr>
        </p:nvSpPr>
        <p:spPr>
          <a:xfrm>
            <a:off x="588263" y="1302991"/>
            <a:ext cx="10838849" cy="572464"/>
          </a:xfrm>
        </p:spPr>
        <p:txBody>
          <a:bodyPr/>
          <a:lstStyle/>
          <a:p>
            <a:r>
              <a:rPr lang="en-GB" sz="2800"/>
              <a:t>How to fill this PowerPoint document</a:t>
            </a:r>
          </a:p>
        </p:txBody>
      </p:sp>
      <p:sp>
        <p:nvSpPr>
          <p:cNvPr id="6" name="Rectangle: Rounded Corners 5">
            <a:extLst>
              <a:ext uri="{FF2B5EF4-FFF2-40B4-BE49-F238E27FC236}">
                <a16:creationId xmlns:a16="http://schemas.microsoft.com/office/drawing/2014/main" id="{8C52F58B-3961-4A55-A50B-A6F0B0CFE718}"/>
              </a:ext>
            </a:extLst>
          </p:cNvPr>
          <p:cNvSpPr/>
          <p:nvPr/>
        </p:nvSpPr>
        <p:spPr bwMode="auto">
          <a:xfrm>
            <a:off x="1078173" y="2920099"/>
            <a:ext cx="360000" cy="360000"/>
          </a:xfrm>
          <a:prstGeom prst="roundRect">
            <a:avLst/>
          </a:prstGeom>
          <a:solidFill>
            <a:srgbClr val="191919"/>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4CCBED"/>
                </a:solidFill>
                <a:effectLst/>
                <a:uLnTx/>
                <a:uFillTx/>
                <a:latin typeface="Segoe UI"/>
                <a:ea typeface="Segoe UI" pitchFamily="34" charset="0"/>
                <a:cs typeface="Segoe UI" pitchFamily="34" charset="0"/>
              </a:rPr>
              <a:t>F&amp;O</a:t>
            </a:r>
          </a:p>
        </p:txBody>
      </p:sp>
      <p:sp>
        <p:nvSpPr>
          <p:cNvPr id="7" name="Rectangle: Rounded Corners 6">
            <a:extLst>
              <a:ext uri="{FF2B5EF4-FFF2-40B4-BE49-F238E27FC236}">
                <a16:creationId xmlns:a16="http://schemas.microsoft.com/office/drawing/2014/main" id="{36D891C9-9F8E-420F-B757-1CC04D83D0E3}"/>
              </a:ext>
            </a:extLst>
          </p:cNvPr>
          <p:cNvSpPr/>
          <p:nvPr/>
        </p:nvSpPr>
        <p:spPr bwMode="auto">
          <a:xfrm>
            <a:off x="1078173" y="3337353"/>
            <a:ext cx="360000" cy="360000"/>
          </a:xfrm>
          <a:prstGeom prst="roundRect">
            <a:avLst/>
          </a:prstGeom>
          <a:solidFill>
            <a:srgbClr val="191919"/>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4CCBED"/>
                </a:solidFill>
                <a:effectLst/>
                <a:uLnTx/>
                <a:uFillTx/>
                <a:latin typeface="Segoe UI"/>
                <a:ea typeface="Segoe UI" pitchFamily="34" charset="0"/>
                <a:cs typeface="Segoe UI" pitchFamily="34" charset="0"/>
              </a:rPr>
              <a:t>HR</a:t>
            </a:r>
          </a:p>
        </p:txBody>
      </p:sp>
      <p:sp>
        <p:nvSpPr>
          <p:cNvPr id="8" name="Rectangle: Rounded Corners 7">
            <a:extLst>
              <a:ext uri="{FF2B5EF4-FFF2-40B4-BE49-F238E27FC236}">
                <a16:creationId xmlns:a16="http://schemas.microsoft.com/office/drawing/2014/main" id="{4626244B-15A7-491B-AA85-6DF38E48CC15}"/>
              </a:ext>
            </a:extLst>
          </p:cNvPr>
          <p:cNvSpPr/>
          <p:nvPr/>
        </p:nvSpPr>
        <p:spPr bwMode="auto">
          <a:xfrm>
            <a:off x="1078173" y="3754607"/>
            <a:ext cx="360000" cy="360000"/>
          </a:xfrm>
          <a:prstGeom prst="roundRect">
            <a:avLst/>
          </a:prstGeom>
          <a:solidFill>
            <a:srgbClr val="191919"/>
          </a:solidFill>
          <a:ln w="9525"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4CCBED"/>
                </a:solidFill>
                <a:effectLst/>
                <a:uLnTx/>
                <a:uFillTx/>
                <a:latin typeface="Segoe UI"/>
                <a:ea typeface="Segoe UI" pitchFamily="34" charset="0"/>
                <a:cs typeface="Segoe UI" pitchFamily="34" charset="0"/>
              </a:rPr>
              <a:t>CE</a:t>
            </a:r>
          </a:p>
        </p:txBody>
      </p:sp>
    </p:spTree>
    <p:extLst>
      <p:ext uri="{BB962C8B-B14F-4D97-AF65-F5344CB8AC3E}">
        <p14:creationId xmlns:p14="http://schemas.microsoft.com/office/powerpoint/2010/main" val="13045631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7503F64-CFA9-4B15-BBFB-8E55D5867F21}"/>
              </a:ext>
            </a:extLst>
          </p:cNvPr>
          <p:cNvSpPr>
            <a:spLocks noGrp="1"/>
          </p:cNvSpPr>
          <p:nvPr>
            <p:ph type="title"/>
          </p:nvPr>
        </p:nvSpPr>
        <p:spPr>
          <a:xfrm>
            <a:off x="585216" y="2651888"/>
            <a:ext cx="9144000" cy="1554224"/>
          </a:xfrm>
        </p:spPr>
        <p:txBody>
          <a:bodyPr wrap="square" anchor="ctr">
            <a:noAutofit/>
          </a:bodyPr>
          <a:lstStyle/>
          <a:p>
            <a:pPr lvl="0" rtl="0"/>
            <a:r>
              <a:rPr lang="en-US" sz="4400">
                <a:solidFill>
                  <a:schemeClr val="tx1"/>
                </a:solidFill>
                <a:cs typeface="Segoe UI"/>
              </a:rPr>
              <a:t>Security strategy </a:t>
            </a:r>
            <a:br>
              <a:rPr lang="en-US" sz="4400">
                <a:cs typeface="Segoe UI"/>
              </a:rPr>
            </a:br>
            <a:r>
              <a:rPr lang="en-US" sz="4400">
                <a:cs typeface="Segoe UI"/>
              </a:rPr>
              <a:t>Overview &amp; workstream</a:t>
            </a:r>
          </a:p>
        </p:txBody>
      </p:sp>
    </p:spTree>
    <p:extLst>
      <p:ext uri="{BB962C8B-B14F-4D97-AF65-F5344CB8AC3E}">
        <p14:creationId xmlns:p14="http://schemas.microsoft.com/office/powerpoint/2010/main" val="5264141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457200"/>
            <a:ext cx="11018520" cy="553998"/>
          </a:xfrm>
        </p:spPr>
        <p:txBody>
          <a:bodyPr/>
          <a:lstStyle/>
          <a:p>
            <a:r>
              <a:rPr lang="en-US"/>
              <a:t>Security strategy overview</a:t>
            </a:r>
          </a:p>
        </p:txBody>
      </p:sp>
      <p:grpSp>
        <p:nvGrpSpPr>
          <p:cNvPr id="5" name="Group 4">
            <a:extLst>
              <a:ext uri="{FF2B5EF4-FFF2-40B4-BE49-F238E27FC236}">
                <a16:creationId xmlns:a16="http://schemas.microsoft.com/office/drawing/2014/main" id="{1880F8A0-0AA6-4356-B511-4A9689853FC5}"/>
              </a:ext>
            </a:extLst>
          </p:cNvPr>
          <p:cNvGrpSpPr/>
          <p:nvPr/>
        </p:nvGrpSpPr>
        <p:grpSpPr>
          <a:xfrm>
            <a:off x="457200" y="1176208"/>
            <a:ext cx="11301983" cy="522386"/>
            <a:chOff x="457200" y="1176208"/>
            <a:chExt cx="11301983" cy="522386"/>
          </a:xfrm>
        </p:grpSpPr>
        <p:sp>
          <p:nvSpPr>
            <p:cNvPr id="14" name="Rectangle 13">
              <a:extLst>
                <a:ext uri="{FF2B5EF4-FFF2-40B4-BE49-F238E27FC236}">
                  <a16:creationId xmlns:a16="http://schemas.microsoft.com/office/drawing/2014/main" id="{60059C99-3F9A-45EA-9F27-CD046AC0C91F}"/>
                </a:ext>
              </a:extLst>
            </p:cNvPr>
            <p:cNvSpPr/>
            <p:nvPr/>
          </p:nvSpPr>
          <p:spPr>
            <a:xfrm>
              <a:off x="889127" y="1176208"/>
              <a:ext cx="1087005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n-US" sz="1600">
                  <a:solidFill>
                    <a:schemeClr val="tx1"/>
                  </a:solidFill>
                </a:rPr>
                <a:t>Provide an overview of the security strategy for the implementation.</a:t>
              </a:r>
              <a:br>
                <a:rPr lang="en-US" sz="1600">
                  <a:solidFill>
                    <a:schemeClr val="tx1"/>
                  </a:solidFill>
                </a:rPr>
              </a:br>
              <a:r>
                <a:rPr lang="en-US" sz="1600">
                  <a:solidFill>
                    <a:schemeClr val="tx1"/>
                  </a:solidFill>
                </a:rPr>
                <a:t>Are you following a least-privilege permissions approach?</a:t>
              </a:r>
            </a:p>
          </p:txBody>
        </p:sp>
        <p:grpSp>
          <p:nvGrpSpPr>
            <p:cNvPr id="15" name="Group 14">
              <a:extLst>
                <a:ext uri="{FF2B5EF4-FFF2-40B4-BE49-F238E27FC236}">
                  <a16:creationId xmlns:a16="http://schemas.microsoft.com/office/drawing/2014/main" id="{EF8E1F0B-8125-4690-812E-E5ECDCF04681}"/>
                </a:ext>
              </a:extLst>
            </p:cNvPr>
            <p:cNvGrpSpPr/>
            <p:nvPr/>
          </p:nvGrpSpPr>
          <p:grpSpPr>
            <a:xfrm>
              <a:off x="457200" y="1274345"/>
              <a:ext cx="326112" cy="326112"/>
              <a:chOff x="115497" y="1864737"/>
              <a:chExt cx="461744" cy="461744"/>
            </a:xfrm>
            <a:solidFill>
              <a:schemeClr val="tx2"/>
            </a:solidFill>
          </p:grpSpPr>
          <p:sp>
            <p:nvSpPr>
              <p:cNvPr id="16" name="Freeform: Shape 15">
                <a:extLst>
                  <a:ext uri="{FF2B5EF4-FFF2-40B4-BE49-F238E27FC236}">
                    <a16:creationId xmlns:a16="http://schemas.microsoft.com/office/drawing/2014/main" id="{A9CAF878-53AD-4B08-BFF6-AEC392CB06E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Graphic 77">
                <a:extLst>
                  <a:ext uri="{FF2B5EF4-FFF2-40B4-BE49-F238E27FC236}">
                    <a16:creationId xmlns:a16="http://schemas.microsoft.com/office/drawing/2014/main" id="{B6D5EDAC-27A5-48FC-A9E8-552AF43254D1}"/>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8" name="Rectangle 17">
            <a:extLst>
              <a:ext uri="{FF2B5EF4-FFF2-40B4-BE49-F238E27FC236}">
                <a16:creationId xmlns:a16="http://schemas.microsoft.com/office/drawing/2014/main" id="{E25BB912-D68D-430A-9959-5178AF72BEA6}"/>
              </a:ext>
            </a:extLst>
          </p:cNvPr>
          <p:cNvSpPr/>
          <p:nvPr/>
        </p:nvSpPr>
        <p:spPr>
          <a:xfrm>
            <a:off x="457200" y="1882783"/>
            <a:ext cx="11277600" cy="46323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details here</a:t>
            </a:r>
            <a:br>
              <a:rPr lang="en-US" sz="1600">
                <a:solidFill>
                  <a:schemeClr val="tx1"/>
                </a:solidFill>
              </a:rPr>
            </a:br>
            <a:br>
              <a:rPr lang="en-US" sz="1600">
                <a:solidFill>
                  <a:schemeClr val="tx1"/>
                </a:solidFill>
              </a:rPr>
            </a:br>
            <a:r>
              <a:rPr lang="en-US" sz="1600">
                <a:solidFill>
                  <a:schemeClr val="tx1"/>
                </a:solidFill>
              </a:rPr>
              <a:t>(See slide notes for additional information)</a:t>
            </a:r>
          </a:p>
        </p:txBody>
      </p:sp>
    </p:spTree>
    <p:extLst>
      <p:ext uri="{BB962C8B-B14F-4D97-AF65-F5344CB8AC3E}">
        <p14:creationId xmlns:p14="http://schemas.microsoft.com/office/powerpoint/2010/main" val="751097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588263" y="457200"/>
            <a:ext cx="11018520" cy="553998"/>
          </a:xfrm>
        </p:spPr>
        <p:txBody>
          <a:bodyPr/>
          <a:lstStyle/>
          <a:p>
            <a:r>
              <a:rPr lang="en-US">
                <a:cs typeface="Segoe UI"/>
              </a:rPr>
              <a:t>Security workstream</a:t>
            </a:r>
            <a:endParaRPr lang="en-US"/>
          </a:p>
        </p:txBody>
      </p:sp>
      <p:grpSp>
        <p:nvGrpSpPr>
          <p:cNvPr id="12" name="Group 11">
            <a:extLst>
              <a:ext uri="{FF2B5EF4-FFF2-40B4-BE49-F238E27FC236}">
                <a16:creationId xmlns:a16="http://schemas.microsoft.com/office/drawing/2014/main" id="{E724E342-E48E-4907-9072-289559104C52}"/>
              </a:ext>
              <a:ext uri="{C183D7F6-B498-43B3-948B-1728B52AA6E4}">
                <adec:decorative xmlns:adec="http://schemas.microsoft.com/office/drawing/2017/decorative" val="1"/>
              </a:ext>
            </a:extLst>
          </p:cNvPr>
          <p:cNvGrpSpPr/>
          <p:nvPr/>
        </p:nvGrpSpPr>
        <p:grpSpPr>
          <a:xfrm>
            <a:off x="457200" y="1287313"/>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15" name="Rectangle 14">
            <a:extLst>
              <a:ext uri="{FF2B5EF4-FFF2-40B4-BE49-F238E27FC236}">
                <a16:creationId xmlns:a16="http://schemas.microsoft.com/office/drawing/2014/main" id="{BDD64BFD-7ED9-4476-ABC3-6BBAC4A275B2}"/>
              </a:ext>
            </a:extLst>
          </p:cNvPr>
          <p:cNvSpPr/>
          <p:nvPr/>
        </p:nvSpPr>
        <p:spPr>
          <a:xfrm>
            <a:off x="457200" y="1863604"/>
            <a:ext cx="11277600" cy="46514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rPr>
              <a:t>Add details here</a:t>
            </a:r>
            <a:br>
              <a:rPr lang="en-US" sz="1600">
                <a:solidFill>
                  <a:schemeClr val="tx1"/>
                </a:solidFill>
              </a:rPr>
            </a:br>
            <a:br>
              <a:rPr lang="en-US" sz="1600">
                <a:solidFill>
                  <a:schemeClr val="tx1"/>
                </a:solidFill>
              </a:rPr>
            </a:br>
            <a:r>
              <a:rPr lang="en-US" sz="1600">
                <a:solidFill>
                  <a:schemeClr val="tx1"/>
                </a:solidFill>
              </a:rPr>
              <a:t>(See slide notes for additional information)</a:t>
            </a:r>
          </a:p>
        </p:txBody>
      </p:sp>
      <p:grpSp>
        <p:nvGrpSpPr>
          <p:cNvPr id="17" name="Group 16">
            <a:extLst>
              <a:ext uri="{FF2B5EF4-FFF2-40B4-BE49-F238E27FC236}">
                <a16:creationId xmlns:a16="http://schemas.microsoft.com/office/drawing/2014/main" id="{B2730E34-9E2B-4E6B-8A59-2C5F18968C4B}"/>
              </a:ext>
            </a:extLst>
          </p:cNvPr>
          <p:cNvGrpSpPr/>
          <p:nvPr/>
        </p:nvGrpSpPr>
        <p:grpSpPr>
          <a:xfrm>
            <a:off x="457200" y="1176208"/>
            <a:ext cx="11301983" cy="522386"/>
            <a:chOff x="457200" y="1176208"/>
            <a:chExt cx="11301983" cy="522386"/>
          </a:xfrm>
        </p:grpSpPr>
        <p:sp>
          <p:nvSpPr>
            <p:cNvPr id="18" name="Rectangle 17">
              <a:extLst>
                <a:ext uri="{FF2B5EF4-FFF2-40B4-BE49-F238E27FC236}">
                  <a16:creationId xmlns:a16="http://schemas.microsoft.com/office/drawing/2014/main" id="{4C24DECB-A584-4AFD-AD1D-3AAD825386B4}"/>
                </a:ext>
              </a:extLst>
            </p:cNvPr>
            <p:cNvSpPr/>
            <p:nvPr/>
          </p:nvSpPr>
          <p:spPr>
            <a:xfrm>
              <a:off x="889127" y="1176208"/>
              <a:ext cx="1087005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n-US" sz="1600">
                  <a:solidFill>
                    <a:schemeClr val="tx1"/>
                  </a:solidFill>
                </a:rPr>
                <a:t>Please describe the structure of the team assigned to security tasks, in the context of the implementation team, and the governance of security design, implementation, and operations tasks.</a:t>
              </a:r>
            </a:p>
          </p:txBody>
        </p:sp>
        <p:grpSp>
          <p:nvGrpSpPr>
            <p:cNvPr id="19" name="Group 18">
              <a:extLst>
                <a:ext uri="{FF2B5EF4-FFF2-40B4-BE49-F238E27FC236}">
                  <a16:creationId xmlns:a16="http://schemas.microsoft.com/office/drawing/2014/main" id="{402E8295-A509-422E-989C-CB761F02834E}"/>
                </a:ext>
              </a:extLst>
            </p:cNvPr>
            <p:cNvGrpSpPr/>
            <p:nvPr/>
          </p:nvGrpSpPr>
          <p:grpSpPr>
            <a:xfrm>
              <a:off x="457200" y="1274345"/>
              <a:ext cx="326112" cy="326112"/>
              <a:chOff x="115497" y="1864737"/>
              <a:chExt cx="461744" cy="461744"/>
            </a:xfrm>
            <a:solidFill>
              <a:schemeClr val="tx2"/>
            </a:solidFill>
          </p:grpSpPr>
          <p:sp>
            <p:nvSpPr>
              <p:cNvPr id="20" name="Freeform: Shape 19">
                <a:extLst>
                  <a:ext uri="{FF2B5EF4-FFF2-40B4-BE49-F238E27FC236}">
                    <a16:creationId xmlns:a16="http://schemas.microsoft.com/office/drawing/2014/main" id="{6DDEBEBA-C2FC-4B5C-A2C5-38902550C1A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Graphic 77">
                <a:extLst>
                  <a:ext uri="{FF2B5EF4-FFF2-40B4-BE49-F238E27FC236}">
                    <a16:creationId xmlns:a16="http://schemas.microsoft.com/office/drawing/2014/main" id="{22DD4DFC-D600-43E6-B305-138DD2190CE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3450680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191919"/>
        </a:solidFill>
        <a:effectLst/>
      </p:bgPr>
    </p:bg>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6F662F3A-B934-415E-B08B-7D443970BE63}"/>
              </a:ext>
            </a:extLst>
          </p:cNvPr>
          <p:cNvSpPr txBox="1">
            <a:spLocks noGrp="1"/>
          </p:cNvSpPr>
          <p:nvPr>
            <p:ph type="title" idx="4294967295"/>
          </p:nvPr>
        </p:nvSpPr>
        <p:spPr>
          <a:xfrm>
            <a:off x="585216" y="2651888"/>
            <a:ext cx="11206734" cy="1554224"/>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50" normalizeH="0" baseline="0" noProof="0">
                <a:ln w="3175">
                  <a:noFill/>
                </a:ln>
                <a:solidFill>
                  <a:schemeClr val="tx1"/>
                </a:solidFill>
                <a:effectLst/>
                <a:uLnTx/>
                <a:uFillTx/>
                <a:latin typeface="+mj-lt"/>
                <a:ea typeface="+mn-ea"/>
                <a:cs typeface="Segoe UI"/>
              </a:rPr>
              <a:t>Security strategy </a:t>
            </a:r>
            <a:br>
              <a:rPr kumimoji="0" lang="en-US" sz="4400" b="0" i="0" u="none" strike="noStrike" kern="1200" cap="none" spc="-50" normalizeH="0" baseline="0" noProof="0">
                <a:ln w="3175">
                  <a:noFill/>
                </a:ln>
                <a:solidFill>
                  <a:srgbClr val="4CCBED"/>
                </a:solidFill>
                <a:effectLst/>
                <a:uLnTx/>
                <a:uFillTx/>
                <a:latin typeface="+mj-lt"/>
                <a:ea typeface="+mn-ea"/>
                <a:cs typeface="Segoe UI"/>
              </a:rPr>
            </a:br>
            <a:r>
              <a:rPr kumimoji="0" lang="en-US" sz="4400" b="0" i="0" u="none" strike="noStrike" kern="1200" cap="none" spc="-50" normalizeH="0" baseline="0" noProof="0">
                <a:ln w="3175">
                  <a:noFill/>
                </a:ln>
                <a:solidFill>
                  <a:srgbClr val="4CCBED"/>
                </a:solidFill>
                <a:effectLst/>
                <a:uLnTx/>
                <a:uFillTx/>
                <a:latin typeface="+mj-lt"/>
                <a:ea typeface="+mn-ea"/>
                <a:cs typeface="Segoe UI"/>
              </a:rPr>
              <a:t>Regulation, compliance, </a:t>
            </a:r>
            <a:br>
              <a:rPr kumimoji="0" lang="en-US" sz="4400" b="0" i="0" u="none" strike="noStrike" kern="1200" cap="none" spc="-50" normalizeH="0" baseline="0" noProof="0">
                <a:ln w="3175">
                  <a:noFill/>
                </a:ln>
                <a:solidFill>
                  <a:srgbClr val="4CCBED"/>
                </a:solidFill>
                <a:effectLst/>
                <a:uLnTx/>
                <a:uFillTx/>
                <a:latin typeface="+mj-lt"/>
                <a:ea typeface="+mn-ea"/>
                <a:cs typeface="Segoe UI"/>
              </a:rPr>
            </a:br>
            <a:r>
              <a:rPr kumimoji="0" lang="en-US" sz="4400" b="0" i="0" u="none" strike="noStrike" kern="1200" cap="none" spc="-50" normalizeH="0" baseline="0" noProof="0">
                <a:ln w="3175">
                  <a:noFill/>
                </a:ln>
                <a:solidFill>
                  <a:srgbClr val="4CCBED"/>
                </a:solidFill>
                <a:effectLst/>
                <a:uLnTx/>
                <a:uFillTx/>
                <a:latin typeface="+mj-lt"/>
                <a:ea typeface="+mn-ea"/>
                <a:cs typeface="Segoe UI"/>
              </a:rPr>
              <a:t>and other requirements</a:t>
            </a:r>
          </a:p>
        </p:txBody>
      </p:sp>
    </p:spTree>
    <p:extLst>
      <p:ext uri="{BB962C8B-B14F-4D97-AF65-F5344CB8AC3E}">
        <p14:creationId xmlns:p14="http://schemas.microsoft.com/office/powerpoint/2010/main" val="2405472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j9AMThGLMdpwwbD3T1W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Dynamics_NEW_20_Ocean on White">
      <a:dk1>
        <a:srgbClr val="000000"/>
      </a:dk1>
      <a:lt1>
        <a:srgbClr val="FFFFFF"/>
      </a:lt1>
      <a:dk2>
        <a:srgbClr val="0B5569"/>
      </a:dk2>
      <a:lt2>
        <a:srgbClr val="E6E6E6"/>
      </a:lt2>
      <a:accent1>
        <a:srgbClr val="1392B3"/>
      </a:accent1>
      <a:accent2>
        <a:srgbClr val="0B5569"/>
      </a:accent2>
      <a:accent3>
        <a:srgbClr val="4CCBED"/>
      </a:accent3>
      <a:accent4>
        <a:srgbClr val="0078D4"/>
      </a:accent4>
      <a:accent5>
        <a:srgbClr val="243A5E"/>
      </a:accent5>
      <a:accent6>
        <a:srgbClr val="737373"/>
      </a:accent6>
      <a:hlink>
        <a:srgbClr val="1392B3"/>
      </a:hlink>
      <a:folHlink>
        <a:srgbClr val="1392B3"/>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Dynamics 365 template ocean accent.potx" id="{BD6D9AFC-A2AA-415A-9CAE-22491A52C56B}" vid="{928B97AA-EDDF-4A70-ACAA-2396BE69F09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ynamics_NEW_20_Ocean on White">
    <a:dk1>
      <a:srgbClr val="000000"/>
    </a:dk1>
    <a:lt1>
      <a:srgbClr val="FFFFFF"/>
    </a:lt1>
    <a:dk2>
      <a:srgbClr val="0B5569"/>
    </a:dk2>
    <a:lt2>
      <a:srgbClr val="E6E6E6"/>
    </a:lt2>
    <a:accent1>
      <a:srgbClr val="1392B3"/>
    </a:accent1>
    <a:accent2>
      <a:srgbClr val="0B5569"/>
    </a:accent2>
    <a:accent3>
      <a:srgbClr val="4CCBED"/>
    </a:accent3>
    <a:accent4>
      <a:srgbClr val="0078D4"/>
    </a:accent4>
    <a:accent5>
      <a:srgbClr val="243A5E"/>
    </a:accent5>
    <a:accent6>
      <a:srgbClr val="737373"/>
    </a:accent6>
    <a:hlink>
      <a:srgbClr val="1392B3"/>
    </a:hlink>
    <a:folHlink>
      <a:srgbClr val="1392B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8e793c00-403c-4e2e-9f3f-1f9fce3bba0e">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C23B1A370DB454895F1017B66A82434" ma:contentTypeVersion="18" ma:contentTypeDescription="Crée un document." ma:contentTypeScope="" ma:versionID="7c9472313940c07e45c4109cb65aad82">
  <xsd:schema xmlns:xsd="http://www.w3.org/2001/XMLSchema" xmlns:xs="http://www.w3.org/2001/XMLSchema" xmlns:p="http://schemas.microsoft.com/office/2006/metadata/properties" xmlns:ns1="http://schemas.microsoft.com/sharepoint/v3" xmlns:ns2="8e793c00-403c-4e2e-9f3f-1f9fce3bba0e" xmlns:ns3="21801293-8b26-4deb-98c0-71fc7c1e1877" xmlns:ns4="230e9df3-be65-4c73-a93b-d1236ebd677e" targetNamespace="http://schemas.microsoft.com/office/2006/metadata/properties" ma:root="true" ma:fieldsID="11597418ad19d186cc7282dbc93663a7" ns1:_="" ns2:_="" ns3:_="" ns4:_="">
    <xsd:import namespace="http://schemas.microsoft.com/sharepoint/v3"/>
    <xsd:import namespace="8e793c00-403c-4e2e-9f3f-1f9fce3bba0e"/>
    <xsd:import namespace="21801293-8b26-4deb-98c0-71fc7c1e1877"/>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KeyPoints" minOccurs="0"/>
                <xsd:element ref="ns2:MediaServiceKeyPoints" minOccurs="0"/>
                <xsd:element ref="ns1:_ip_UnifiedCompliancePolicyProperties" minOccurs="0"/>
                <xsd:element ref="ns1:_ip_UnifiedCompliancePolicyUIAction" minOccurs="0"/>
                <xsd:element ref="ns2:MediaLengthInSeconds" minOccurs="0"/>
                <xsd:element ref="ns2:MediaServiceLocation" minOccurs="0"/>
                <xsd:element ref="ns2:MediaServiceGenerationTime" minOccurs="0"/>
                <xsd:element ref="ns2:MediaServiceEventHashCode" minOccurs="0"/>
                <xsd:element ref="ns2:MediaServiceOCR"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Propriétés de la stratégie de conformité unifiée" ma:hidden="true" ma:internalName="_ip_UnifiedCompliancePolicyProperties">
      <xsd:simpleType>
        <xsd:restriction base="dms:Note"/>
      </xsd:simpleType>
    </xsd:element>
    <xsd:element name="_ip_UnifiedCompliancePolicyUIAction" ma:index="16" nillable="true" ma:displayName="Action d’interface utilisateur de la stratégie de conformité unifié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793c00-403c-4e2e-9f3f-1f9fce3bba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lcf76f155ced4ddcb4097134ff3c332f" ma:index="23" nillable="true" ma:taxonomy="true" ma:internalName="lcf76f155ced4ddcb4097134ff3c332f" ma:taxonomyFieldName="MediaServiceImageTags" ma:displayName="Balises d’image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1801293-8b26-4deb-98c0-71fc7c1e1877" elementFormDefault="qualified">
    <xsd:import namespace="http://schemas.microsoft.com/office/2006/documentManagement/types"/>
    <xsd:import namespace="http://schemas.microsoft.com/office/infopath/2007/PartnerControls"/>
    <xsd:element name="SharedWithUsers" ma:index="11"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418f9c09-66a8-4419-a52a-65cd19081897}" ma:internalName="TaxCatchAll" ma:showField="CatchAllData" ma:web="21801293-8b26-4deb-98c0-71fc7c1e187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21801293-8b26-4deb-98c0-71fc7c1e1877"/>
    <ds:schemaRef ds:uri="230e9df3-be65-4c73-a93b-d1236ebd677e"/>
    <ds:schemaRef ds:uri="8e793c00-403c-4e2e-9f3f-1f9fce3bba0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3113817-1F7A-4E5E-BED3-95B36A28E197}"/>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Dynamics 365 template ocean accent</Template>
  <Application>Microsoft Office PowerPoint</Application>
  <PresentationFormat>Widescreen</PresentationFormat>
  <Slides>40</Slides>
  <Notes>31</Notes>
  <HiddenSlides>0</HiddenSlides>
  <ScaleCrop>false</ScaleCrop>
  <HeadingPairs>
    <vt:vector size="4" baseType="variant">
      <vt:variant>
        <vt:lpstr>Theme</vt:lpstr>
      </vt:variant>
      <vt:variant>
        <vt:i4>1</vt:i4>
      </vt:variant>
      <vt:variant>
        <vt:lpstr>Slide Titles</vt:lpstr>
      </vt:variant>
      <vt:variant>
        <vt:i4>40</vt:i4>
      </vt:variant>
    </vt:vector>
  </HeadingPairs>
  <TitlesOfParts>
    <vt:vector size="41" baseType="lpstr">
      <vt:lpstr>White Template</vt:lpstr>
      <vt:lpstr>FastTrack for Dynamics 365 </vt:lpstr>
      <vt:lpstr>Success by Design</vt:lpstr>
      <vt:lpstr>Security strategy workshop agenda</vt:lpstr>
      <vt:lpstr>The role of FastTrack</vt:lpstr>
      <vt:lpstr>Instructions for customer and partner</vt:lpstr>
      <vt:lpstr>Security strategy  Overview &amp; workstream</vt:lpstr>
      <vt:lpstr>Security strategy overview</vt:lpstr>
      <vt:lpstr>Security workstream</vt:lpstr>
      <vt:lpstr>Security strategy  Regulation, compliance,  and other requirements</vt:lpstr>
      <vt:lpstr>Regulation and compliance (1/2)</vt:lpstr>
      <vt:lpstr>Regulation and compliance (2/2)</vt:lpstr>
      <vt:lpstr>Other requirements</vt:lpstr>
      <vt:lpstr>Security strategy  Implementation (within Dynamics 365)</vt:lpstr>
      <vt:lpstr>Role-based security (1/2)</vt:lpstr>
      <vt:lpstr>Role-based security (2/2) </vt:lpstr>
      <vt:lpstr>Segregation of Duties and XDS</vt:lpstr>
      <vt:lpstr>Worker data </vt:lpstr>
      <vt:lpstr>Basics</vt:lpstr>
      <vt:lpstr>Security roles</vt:lpstr>
      <vt:lpstr>Business units</vt:lpstr>
      <vt:lpstr>Teams</vt:lpstr>
      <vt:lpstr>Other security mechanisms</vt:lpstr>
      <vt:lpstr>User interface</vt:lpstr>
      <vt:lpstr>Security strategy  Implementation (beyond Dynamics 365)</vt:lpstr>
      <vt:lpstr>Scalability, performance, maintainability </vt:lpstr>
      <vt:lpstr>Identity and authentication</vt:lpstr>
      <vt:lpstr>Integration</vt:lpstr>
      <vt:lpstr>Security strategy  Testing</vt:lpstr>
      <vt:lpstr>Security testing</vt:lpstr>
      <vt:lpstr>Security strategy  Management, monitoring, and auditing</vt:lpstr>
      <vt:lpstr>Management</vt:lpstr>
      <vt:lpstr>Monitoring and auditing</vt:lpstr>
      <vt:lpstr>Security strategy  Wrap-up</vt:lpstr>
      <vt:lpstr>Risks</vt:lpstr>
      <vt:lpstr>Issues</vt:lpstr>
      <vt:lpstr>Q&amp;A</vt:lpstr>
      <vt:lpstr>Next steps</vt:lpstr>
      <vt:lpstr>Security strategy  Resources</vt:lpstr>
      <vt:lpstr>Resources </vt:lpstr>
      <vt:lpstr>End of Presentation</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ccess by Design - Security Strategy Workshop</dc:title>
  <dc:subject>&lt;Event name&gt;</dc:subject>
  <dc:creator>Henry.Jammes@microsoft.com;Rich.Black@microsoft.com</dc:creator>
  <cp:keywords>Security, Dynamics 365, Dataverse, Power Apps, Success by Design</cp:keywords>
  <dc:description/>
  <cp:revision>1</cp:revision>
  <dcterms:created xsi:type="dcterms:W3CDTF">2020-09-02T05:19:15Z</dcterms:created>
  <dcterms:modified xsi:type="dcterms:W3CDTF">2021-10-13T10:00: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23B1A370DB454895F1017B66A8243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Date">
    <vt:lpwstr>2017-08-29T14:27:20.8568347-07:00</vt:lpwstr>
  </property>
  <property fmtid="{D5CDD505-2E9C-101B-9397-08002B2CF9AE}" pid="15" name="MSIP_Label_f42aa342-8706-4288-bd11-ebb85995028c_Name">
    <vt:lpwstr>General</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y fmtid="{D5CDD505-2E9C-101B-9397-08002B2CF9AE}" pid="18" name="MediaServiceImageTags">
    <vt:lpwstr/>
  </property>
</Properties>
</file>